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84" r:id="rId1"/>
    <p:sldMasterId id="2147483711" r:id="rId2"/>
    <p:sldMasterId id="2147483651" r:id="rId3"/>
  </p:sldMasterIdLst>
  <p:notesMasterIdLst>
    <p:notesMasterId r:id="rId13"/>
  </p:notesMasterIdLst>
  <p:handoutMasterIdLst>
    <p:handoutMasterId r:id="rId14"/>
  </p:handoutMasterIdLst>
  <p:sldIdLst>
    <p:sldId id="256" r:id="rId4"/>
    <p:sldId id="462" r:id="rId5"/>
    <p:sldId id="350" r:id="rId6"/>
    <p:sldId id="349" r:id="rId7"/>
    <p:sldId id="268" r:id="rId8"/>
    <p:sldId id="367" r:id="rId9"/>
    <p:sldId id="365" r:id="rId10"/>
    <p:sldId id="366" r:id="rId11"/>
    <p:sldId id="368" r:id="rId12"/>
  </p:sldIdLst>
  <p:sldSz cx="12192000" cy="6858000"/>
  <p:notesSz cx="6797675" cy="9928225"/>
  <p:embeddedFontLst>
    <p:embeddedFont>
      <p:font typeface="Benton Sans Book" panose="00000000000000020000" pitchFamily="2" charset="0"/>
      <p:regular r:id="rId15"/>
      <p:bold r:id="rId16"/>
      <p:italic r:id="rId17"/>
      <p:boldItalic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gridur Johnson" initials="SJ" lastIdx="9" clrIdx="0">
    <p:extLst>
      <p:ext uri="{19B8F6BF-5375-455C-9EA6-DF929625EA0E}">
        <p15:presenceInfo xmlns:p15="http://schemas.microsoft.com/office/powerpoint/2012/main" userId="71a5aa851c6423d3" providerId="Windows Live"/>
      </p:ext>
    </p:extLst>
  </p:cmAuthor>
  <p:cmAuthor id="2" name="Emanuele Di Matteo" initials="EDM" lastIdx="1" clrIdx="1">
    <p:extLst>
      <p:ext uri="{19B8F6BF-5375-455C-9EA6-DF929625EA0E}">
        <p15:presenceInfo xmlns:p15="http://schemas.microsoft.com/office/powerpoint/2012/main" userId="S::matteo@copopt.com::79f3f545-d7a7-49c0-86c3-09983100c8a0" providerId="AD"/>
      </p:ext>
    </p:extLst>
  </p:cmAuthor>
  <p:cmAuthor id="3" name="Sarah Frances Procter" initials="SFP" lastIdx="2" clrIdx="2">
    <p:extLst>
      <p:ext uri="{19B8F6BF-5375-455C-9EA6-DF929625EA0E}">
        <p15:presenceInfo xmlns:p15="http://schemas.microsoft.com/office/powerpoint/2012/main" userId="Sarah Frances Proct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B3D0"/>
    <a:srgbClr val="9A9999"/>
    <a:srgbClr val="33B3D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60" d="100"/>
          <a:sy n="160" d="100"/>
        </p:scale>
        <p:origin x="192" y="1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4" d="100"/>
          <a:sy n="54" d="100"/>
        </p:scale>
        <p:origin x="3341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7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3.fntdata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font" Target="fonts/font1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font" Target="fonts/font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027DF9-F764-446B-9046-B094C519B33D}" type="datetimeFigureOut">
              <a:rPr lang="da-DK" smtClean="0"/>
              <a:t>09-02-2022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8D9D9B-2E9F-4E8F-9673-5E7E524D4240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94637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96252E-65F6-4883-90BE-D3805379FB9F}" type="datetimeFigureOut">
              <a:rPr lang="da-DK" smtClean="0"/>
              <a:t>09-02-2022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28C596-606B-4036-9BAD-9225DC5CE25D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3760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9568" indent="-169568">
              <a:buFont typeface="Arial" panose="020B0604020202020204" pitchFamily="34" charset="0"/>
              <a:buChar char="•"/>
            </a:pPr>
            <a:r>
              <a:rPr lang="da-DK" dirty="0" err="1"/>
              <a:t>Consultancy</a:t>
            </a:r>
            <a:r>
              <a:rPr lang="da-DK" dirty="0"/>
              <a:t> vs. Software</a:t>
            </a:r>
          </a:p>
          <a:p>
            <a:pPr marL="169568" indent="-169568">
              <a:buFont typeface="Arial" panose="020B0604020202020204" pitchFamily="34" charset="0"/>
              <a:buChar char="•"/>
            </a:pPr>
            <a:r>
              <a:rPr lang="da-DK" dirty="0"/>
              <a:t>Software: Startede med </a:t>
            </a:r>
            <a:r>
              <a:rPr lang="da-DK" dirty="0" err="1"/>
              <a:t>excel</a:t>
            </a:r>
            <a:r>
              <a:rPr lang="da-DK" dirty="0"/>
              <a:t> </a:t>
            </a:r>
            <a:r>
              <a:rPr lang="da-DK" dirty="0" err="1"/>
              <a:t>algorithms</a:t>
            </a:r>
            <a:r>
              <a:rPr lang="da-DK" dirty="0"/>
              <a:t>, </a:t>
            </a:r>
            <a:r>
              <a:rPr lang="da-DK" dirty="0" err="1"/>
              <a:t>when</a:t>
            </a:r>
            <a:r>
              <a:rPr lang="da-DK" dirty="0"/>
              <a:t> </a:t>
            </a:r>
            <a:r>
              <a:rPr lang="da-DK" dirty="0" err="1"/>
              <a:t>airports</a:t>
            </a:r>
            <a:r>
              <a:rPr lang="da-DK" dirty="0"/>
              <a:t> </a:t>
            </a:r>
            <a:r>
              <a:rPr lang="da-DK" dirty="0" err="1"/>
              <a:t>wanted</a:t>
            </a:r>
            <a:r>
              <a:rPr lang="da-DK" dirty="0"/>
              <a:t> to </a:t>
            </a:r>
            <a:r>
              <a:rPr lang="da-DK" dirty="0" err="1"/>
              <a:t>buy</a:t>
            </a:r>
            <a:r>
              <a:rPr lang="da-DK" dirty="0"/>
              <a:t> it </a:t>
            </a: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could</a:t>
            </a:r>
            <a:r>
              <a:rPr lang="da-DK" dirty="0"/>
              <a:t> </a:t>
            </a:r>
            <a:r>
              <a:rPr lang="da-DK" dirty="0" err="1"/>
              <a:t>see</a:t>
            </a:r>
            <a:r>
              <a:rPr lang="da-DK" dirty="0"/>
              <a:t> the </a:t>
            </a:r>
            <a:r>
              <a:rPr lang="da-DK" dirty="0" err="1"/>
              <a:t>gap</a:t>
            </a:r>
            <a:r>
              <a:rPr lang="da-DK" dirty="0"/>
              <a:t> in the </a:t>
            </a:r>
            <a:r>
              <a:rPr lang="da-DK" dirty="0" err="1"/>
              <a:t>market</a:t>
            </a:r>
            <a:r>
              <a:rPr lang="da-DK" dirty="0"/>
              <a:t>. </a:t>
            </a:r>
            <a:endParaRPr lang="en-US" dirty="0"/>
          </a:p>
          <a:p>
            <a:pPr marL="169568" indent="-169568">
              <a:buFont typeface="Arial" panose="020B0604020202020204" pitchFamily="34" charset="0"/>
              <a:buChar char="•"/>
            </a:pPr>
            <a:r>
              <a:rPr lang="en-US" dirty="0"/>
              <a:t>Airport understanding core in our busi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9967E6-E6C0-494A-A519-1698687F3BC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6279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Benton Sans Book" panose="00000000000000020000" pitchFamily="2" charset="0"/>
              </a:rPr>
              <a:t>Company overview</a:t>
            </a:r>
          </a:p>
          <a:p>
            <a:pPr marL="177725" indent="-177725">
              <a:buFont typeface="Arial" panose="020B0604020202020204" pitchFamily="34" charset="0"/>
              <a:buChar char="•"/>
            </a:pPr>
            <a:r>
              <a:rPr lang="en-US" dirty="0">
                <a:latin typeface="Benton Sans Book" panose="00000000000000020000" pitchFamily="2" charset="0"/>
              </a:rPr>
              <a:t>Copenhagen optimization is a </a:t>
            </a:r>
            <a:r>
              <a:rPr lang="en-US" b="1" dirty="0">
                <a:latin typeface="Benton Sans Book" panose="00000000000000020000" pitchFamily="2" charset="0"/>
              </a:rPr>
              <a:t>software</a:t>
            </a:r>
            <a:r>
              <a:rPr lang="en-US" dirty="0">
                <a:latin typeface="Benton Sans Book" panose="00000000000000020000" pitchFamily="2" charset="0"/>
              </a:rPr>
              <a:t> and </a:t>
            </a:r>
            <a:r>
              <a:rPr lang="en-US" b="1" dirty="0">
                <a:latin typeface="Benton Sans Book" panose="00000000000000020000" pitchFamily="2" charset="0"/>
              </a:rPr>
              <a:t>consultancy</a:t>
            </a:r>
            <a:r>
              <a:rPr lang="en-US" dirty="0">
                <a:latin typeface="Benton Sans Book" panose="00000000000000020000" pitchFamily="2" charset="0"/>
              </a:rPr>
              <a:t> company specialized in airport operations; through our software we serve ~500 million passengers (2019) at some of the world’s largest airports</a:t>
            </a:r>
          </a:p>
          <a:p>
            <a:pPr marL="177725" indent="-177725">
              <a:buFont typeface="Arial" panose="020B0604020202020204" pitchFamily="34" charset="0"/>
              <a:buChar char="•"/>
            </a:pPr>
            <a:r>
              <a:rPr lang="en-US" dirty="0">
                <a:latin typeface="Benton Sans Book" panose="00000000000000020000" pitchFamily="2" charset="0"/>
              </a:rPr>
              <a:t>In the summer of 2020 Copenhagen Optimization (CopOpt) has provided KLIA with pro-bono consultancy services within baggage arrival carousel optimization</a:t>
            </a:r>
          </a:p>
          <a:p>
            <a:pPr marL="177725" indent="-177725">
              <a:buFont typeface="Arial" panose="020B0604020202020204" pitchFamily="34" charset="0"/>
              <a:buChar char="•"/>
            </a:pPr>
            <a:r>
              <a:rPr lang="en-US" dirty="0">
                <a:latin typeface="Benton Sans Book" panose="00000000000000020000" pitchFamily="2" charset="0"/>
              </a:rPr>
              <a:t>As part of the service above, we have demonstrated how our product Better Baggage (part of the suite Better Airport®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8C596-606B-4036-9BAD-9225DC5CE25D}" type="slidenum">
              <a:rPr lang="da-DK" smtClean="0"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101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Benton Sans Book" panose="00000000000000020000" pitchFamily="2" charset="0"/>
              </a:rPr>
              <a:t>Overview of our software Better Airport®</a:t>
            </a:r>
          </a:p>
          <a:p>
            <a:pPr marL="177725" indent="-177725">
              <a:buFont typeface="Arial" panose="020B0604020202020204" pitchFamily="34" charset="0"/>
              <a:buChar char="•"/>
            </a:pPr>
            <a:r>
              <a:rPr lang="en-US" dirty="0">
                <a:latin typeface="Benton Sans Book" panose="00000000000000020000" pitchFamily="2" charset="0"/>
              </a:rPr>
              <a:t>We offer 6 products, which can be bought and implemented independently</a:t>
            </a:r>
          </a:p>
          <a:p>
            <a:pPr marL="177725" indent="-177725">
              <a:buFont typeface="Arial" panose="020B0604020202020204" pitchFamily="34" charset="0"/>
              <a:buChar char="•"/>
            </a:pPr>
            <a:r>
              <a:rPr lang="en-US" dirty="0">
                <a:latin typeface="Benton Sans Book" panose="00000000000000020000" pitchFamily="2" charset="0"/>
              </a:rPr>
              <a:t>Better Forecast communicates with each of the other 5 products</a:t>
            </a:r>
          </a:p>
          <a:p>
            <a:pPr marL="177725" indent="-177725">
              <a:buFont typeface="Arial" panose="020B0604020202020204" pitchFamily="34" charset="0"/>
              <a:buChar char="•"/>
            </a:pPr>
            <a:r>
              <a:rPr lang="en-US" dirty="0">
                <a:latin typeface="Benton Sans Book" panose="00000000000000020000" pitchFamily="2" charset="0"/>
              </a:rPr>
              <a:t>Each product targets a key operational area of airports, and is aimed at optimizing use of infrastructure and staff while delivering service to passengers according to airport targe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28C596-606B-4036-9BAD-9225DC5CE25D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06132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4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8573C-7DCE-47AE-848E-A7CB7E845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144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3808FA-8AC7-4414-B28D-31C32C7727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0100" y="1494739"/>
            <a:ext cx="2971800" cy="29725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AA1442F-ED08-4B9B-86E1-412252601809}"/>
              </a:ext>
            </a:extLst>
          </p:cNvPr>
          <p:cNvSpPr txBox="1"/>
          <p:nvPr userDrawn="1"/>
        </p:nvSpPr>
        <p:spPr>
          <a:xfrm>
            <a:off x="3112315" y="4778486"/>
            <a:ext cx="6291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9A9999"/>
                </a:solidFill>
              </a:rPr>
              <a:t>COPENHAGEN</a:t>
            </a:r>
            <a:r>
              <a:rPr lang="en-US" sz="3200" dirty="0"/>
              <a:t> </a:t>
            </a:r>
            <a:r>
              <a:rPr lang="en-US" sz="3200" dirty="0">
                <a:solidFill>
                  <a:srgbClr val="33B3D1"/>
                </a:solidFill>
              </a:rPr>
              <a:t>OPTIMIZATION</a:t>
            </a:r>
            <a:endParaRPr lang="en-DK" sz="3200" dirty="0">
              <a:solidFill>
                <a:srgbClr val="33B3D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4186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- Do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25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567C06-1339-446E-960A-FB66315882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5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8599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slide - Doc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246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567C06-1339-446E-960A-FB66315882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5999" cy="6858000"/>
          </a:xfrm>
          <a:prstGeom prst="rect">
            <a:avLst/>
          </a:prstGeom>
        </p:spPr>
      </p:pic>
      <p:sp>
        <p:nvSpPr>
          <p:cNvPr id="8" name="Shape 134">
            <a:extLst>
              <a:ext uri="{FF2B5EF4-FFF2-40B4-BE49-F238E27FC236}">
                <a16:creationId xmlns:a16="http://schemas.microsoft.com/office/drawing/2014/main" id="{34F0028B-8626-42CD-9EFD-F5218FCCADB6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0345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- Puzz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8042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BB85B0-3999-4B96-9C0D-A5EC858C57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83" r="48883"/>
          <a:stretch/>
        </p:blipFill>
        <p:spPr>
          <a:xfrm>
            <a:off x="6096000" y="1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6487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slide - Puzz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535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BB85B0-3999-4B96-9C0D-A5EC858C57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83" r="48883"/>
          <a:stretch/>
        </p:blipFill>
        <p:spPr>
          <a:xfrm>
            <a:off x="6096000" y="1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hape 134">
            <a:extLst>
              <a:ext uri="{FF2B5EF4-FFF2-40B4-BE49-F238E27FC236}">
                <a16:creationId xmlns:a16="http://schemas.microsoft.com/office/drawing/2014/main" id="{3E0D8BF5-4834-4A24-A3E5-41CFEF26414E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64480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slide - G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823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E3895F2-2A12-44C1-9578-2779E562CC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68582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52101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-slide - G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5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E3895F2-2A12-44C1-9578-2779E562CC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68582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hape 134">
            <a:extLst>
              <a:ext uri="{FF2B5EF4-FFF2-40B4-BE49-F238E27FC236}">
                <a16:creationId xmlns:a16="http://schemas.microsoft.com/office/drawing/2014/main" id="{3F497E62-3EFD-4393-8828-620B68841437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783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slide - Chec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645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pic>
        <p:nvPicPr>
          <p:cNvPr id="10" name="Picture 9" descr="A group of people in a restaurant&#10;&#10;Description automatically generated">
            <a:extLst>
              <a:ext uri="{FF2B5EF4-FFF2-40B4-BE49-F238E27FC236}">
                <a16:creationId xmlns:a16="http://schemas.microsoft.com/office/drawing/2014/main" id="{92D9CA9B-4417-4FF8-8E21-153C6F91DE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2435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-slide - Check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6791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pic>
        <p:nvPicPr>
          <p:cNvPr id="10" name="Picture 9" descr="A group of people in a restaurant&#10;&#10;Description automatically generated">
            <a:extLst>
              <a:ext uri="{FF2B5EF4-FFF2-40B4-BE49-F238E27FC236}">
                <a16:creationId xmlns:a16="http://schemas.microsoft.com/office/drawing/2014/main" id="{92D9CA9B-4417-4FF8-8E21-153C6F91DE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hape 134">
            <a:extLst>
              <a:ext uri="{FF2B5EF4-FFF2-40B4-BE49-F238E27FC236}">
                <a16:creationId xmlns:a16="http://schemas.microsoft.com/office/drawing/2014/main" id="{22957A92-E1DA-4CDA-B992-00DA9B85DDC3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372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slide - Secu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365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group of people standing in a train station&#10;&#10;Description automatically generated">
            <a:extLst>
              <a:ext uri="{FF2B5EF4-FFF2-40B4-BE49-F238E27FC236}">
                <a16:creationId xmlns:a16="http://schemas.microsoft.com/office/drawing/2014/main" id="{F62CBE97-3CBE-4196-AB33-FF5772F204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0312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-slide - Secu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916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group of people standing in a train station&#10;&#10;Description automatically generated">
            <a:extLst>
              <a:ext uri="{FF2B5EF4-FFF2-40B4-BE49-F238E27FC236}">
                <a16:creationId xmlns:a16="http://schemas.microsoft.com/office/drawing/2014/main" id="{F62CBE97-3CBE-4196-AB33-FF5772F204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8" name="Shape 134">
            <a:extLst>
              <a:ext uri="{FF2B5EF4-FFF2-40B4-BE49-F238E27FC236}">
                <a16:creationId xmlns:a16="http://schemas.microsoft.com/office/drawing/2014/main" id="{8FBADA55-C35E-4FAE-B9E7-CB3CA530E662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461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396438-5C81-4C2D-856C-BC0ADFC46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057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C514B-5DFD-4A3C-B63D-DCFA49E474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4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4771945"/>
            <a:ext cx="10515600" cy="336897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1200"/>
              </a:spcBef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5277362"/>
            <a:ext cx="10515600" cy="30027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0100" y="1494739"/>
            <a:ext cx="2971800" cy="297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2424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66EEC-B8B5-478D-BDB9-994A319CD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967B5F-F9C1-4A56-AA09-4CDDC57B97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E67F80-096D-47FA-9D7B-DBA0526BD63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0038" y="1052513"/>
            <a:ext cx="11591925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2649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3B6752-EF08-42B3-BAD5-BD73F8CB3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93FD93-E648-4D76-AD79-176A8937AE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8A72A2-5460-4E79-A356-789138B14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052513"/>
            <a:ext cx="5651500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6ED391-F4EB-4B60-8FFD-0465808CC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0463" y="1052513"/>
            <a:ext cx="5651500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19881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-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3B6752-EF08-42B3-BAD5-BD73F8CB3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93FD93-E648-4D76-AD79-176A8937AE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8A72A2-5460-4E79-A356-789138B14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052513"/>
            <a:ext cx="5651500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23359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-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3B6752-EF08-42B3-BAD5-BD73F8CB3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93FD93-E648-4D76-AD79-176A8937AE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6ED391-F4EB-4B60-8FFD-0465808CC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0463" y="1052513"/>
            <a:ext cx="5651500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46960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82D55-2471-4F6F-BDDA-05F6CA3CD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C335EF-45EB-49FC-8720-A3E1D9AA19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99CD00-56D0-4590-8066-155933BCBCF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0038" y="1052513"/>
            <a:ext cx="5651500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ACFFAA80-E41B-4ACE-8446-49D68CD6A0A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464" y="1052513"/>
            <a:ext cx="5651500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34885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982C81-35C5-4198-AEC4-10315FA25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CDDF4B-4877-4D51-8EDE-15F1747A01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E8C41C-0737-4C57-86BE-E6D83F8EA1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052513"/>
            <a:ext cx="3716377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E7A45AA-5123-43AA-8F4A-D49C973C37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70823" y="1052513"/>
            <a:ext cx="3716377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E635E58-2D5B-40F9-907D-34DDCB2958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35431" y="1052513"/>
            <a:ext cx="3716377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15665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3B6752-EF08-42B3-BAD5-BD73F8CB3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93FD93-E648-4D76-AD79-176A8937AE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8A72A2-5460-4E79-A356-789138B14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052513"/>
            <a:ext cx="5651500" cy="24893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782E4C8-B63A-4D80-BB2A-BD9E42109F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3747948"/>
            <a:ext cx="5651500" cy="24893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DD90A0-340B-4205-A4DB-955190DA55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4" y="1052513"/>
            <a:ext cx="5651500" cy="24893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282926F-1B03-43AE-B781-79CF42BC8E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0464" y="3747948"/>
            <a:ext cx="5651500" cy="24893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6829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rpla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-16041" y="0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22575520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od_pum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8041" cy="6867023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1" y="-9525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37212084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shospitale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-16040" y="0"/>
            <a:ext cx="12208040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1686818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1814897-5F0E-4528-BC6F-8FF195735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21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1814897-5F0E-4528-BC6F-8FF195735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44227C-0EE0-4D6A-8E76-BF64899E8B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9587E-CDC7-4156-ACC8-C41657202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F20D2F-1ADF-4A5D-9C53-4E2B8AF101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E0EDB-A9BF-4875-BC9C-A3C679F846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-134937" fontAlgn="base">
              <a:spcAft>
                <a:spcPct val="0"/>
              </a:spcAft>
              <a:tabLst>
                <a:tab pos="388938" algn="r"/>
                <a:tab pos="447675" algn="l"/>
              </a:tabLst>
            </a:pPr>
            <a:r>
              <a:rPr lang="en-US" dirty="0"/>
              <a:t>	Note:	?</a:t>
            </a:r>
          </a:p>
          <a:p>
            <a:pPr indent="-134937" fontAlgn="base">
              <a:spcAft>
                <a:spcPct val="0"/>
              </a:spcAft>
              <a:tabLst>
                <a:tab pos="388938" algn="r"/>
                <a:tab pos="447675" algn="l"/>
              </a:tabLst>
            </a:pPr>
            <a:r>
              <a:rPr lang="en-US" dirty="0"/>
              <a:t>	* 	?</a:t>
            </a:r>
          </a:p>
          <a:p>
            <a:pPr indent="-134937" fontAlgn="base">
              <a:spcAft>
                <a:spcPct val="0"/>
              </a:spcAft>
              <a:tabLst>
                <a:tab pos="388938" algn="r"/>
                <a:tab pos="447675" algn="l"/>
              </a:tabLst>
            </a:pPr>
            <a:r>
              <a:rPr lang="en-US" dirty="0"/>
              <a:t>	Source:	Copenhagen Optimization analysis, Desktop research</a:t>
            </a:r>
          </a:p>
        </p:txBody>
      </p:sp>
    </p:spTree>
    <p:extLst>
      <p:ext uri="{BB962C8B-B14F-4D97-AF65-F5344CB8AC3E}">
        <p14:creationId xmlns:p14="http://schemas.microsoft.com/office/powerpoint/2010/main" val="17189379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shospitale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1" y="0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23654316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"/>
            <a:ext cx="12192001" cy="6858001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1" y="4029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13116656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1" y="4029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23825765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eber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043" y="-9024"/>
            <a:ext cx="12208043" cy="6867024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-16042" y="-9023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32834617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l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0" y="0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23343785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ppy_Hand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"/>
            <a:ext cx="12191997" cy="6857999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-16041" y="1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35887572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41" y="0"/>
            <a:ext cx="12208041" cy="6858000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-16041" y="0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15997814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zz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8041" cy="6858000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1" y="0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11658701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zzl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042" y="-1"/>
            <a:ext cx="12208041" cy="6858002"/>
          </a:xfrm>
          <a:prstGeom prst="rect">
            <a:avLst/>
          </a:prstGeom>
        </p:spPr>
      </p:pic>
      <p:sp>
        <p:nvSpPr>
          <p:cNvPr id="6" name="Shape 134"/>
          <p:cNvSpPr/>
          <p:nvPr userDrawn="1"/>
        </p:nvSpPr>
        <p:spPr>
          <a:xfrm>
            <a:off x="-16042" y="-1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5610392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backgrou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34"/>
          <p:cNvSpPr/>
          <p:nvPr userDrawn="1"/>
        </p:nvSpPr>
        <p:spPr>
          <a:xfrm>
            <a:off x="-16041" y="0"/>
            <a:ext cx="1220804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2" y="2092798"/>
            <a:ext cx="11582399" cy="267240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reak slide</a:t>
            </a:r>
          </a:p>
        </p:txBody>
      </p:sp>
    </p:spTree>
    <p:extLst>
      <p:ext uri="{BB962C8B-B14F-4D97-AF65-F5344CB8AC3E}">
        <p14:creationId xmlns:p14="http://schemas.microsoft.com/office/powerpoint/2010/main" val="1555840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228602"/>
            <a:ext cx="11582400" cy="457199"/>
          </a:xfrm>
          <a:prstGeom prst="rect">
            <a:avLst/>
          </a:prstGeom>
        </p:spPr>
        <p:txBody>
          <a:bodyPr anchor="b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04800" y="914400"/>
            <a:ext cx="11582400" cy="53975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1200"/>
              </a:spcBef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120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7926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(en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228602"/>
            <a:ext cx="5791200" cy="457199"/>
          </a:xfrm>
          <a:prstGeom prst="rect">
            <a:avLst/>
          </a:prstGeom>
        </p:spPr>
        <p:txBody>
          <a:bodyPr anchor="b"/>
          <a:lstStyle>
            <a:lvl1pPr>
              <a:defRPr sz="2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04801" y="914400"/>
            <a:ext cx="5791200" cy="539496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defRPr sz="1100">
                <a:solidFill>
                  <a:schemeClr val="tx2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defRPr sz="1000">
                <a:solidFill>
                  <a:schemeClr val="tx2">
                    <a:lumMod val="50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defRPr sz="900">
                <a:solidFill>
                  <a:schemeClr val="tx2">
                    <a:lumMod val="50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defRPr sz="900">
                <a:solidFill>
                  <a:schemeClr val="tx2">
                    <a:lumMod val="50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  <a:defRPr sz="9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7FBE22F-D4E7-4AD6-B1E6-B67172B4A0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568417" y="6572774"/>
            <a:ext cx="0" cy="0"/>
          </a:xfrm>
        </p:spPr>
        <p:txBody>
          <a:bodyPr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CDBC39B-A55B-4222-ACB9-70A0B91291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68417" y="6572774"/>
            <a:ext cx="0" cy="0"/>
          </a:xfrm>
        </p:spPr>
        <p:txBody>
          <a:bodyPr/>
          <a:lstStyle>
            <a:lvl1pPr>
              <a:defRPr sz="1200"/>
            </a:lvl1pPr>
          </a:lstStyle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9178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1814897-5F0E-4528-BC6F-8FF195735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23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44227C-0EE0-4D6A-8E76-BF64899E8B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9587E-CDC7-4156-ACC8-C41657202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F20D2F-1ADF-4A5D-9C53-4E2B8AF101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654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76B0B3C-D7E8-4EF7-8B4C-FBD1422DAC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30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614F41-1ACF-46B3-B4BF-C5FEE8027A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FB2E28-9483-4A41-8A95-373EA58D5D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6CB8B6-4121-4F60-91DA-21F5012575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4744480-F803-4300-AFF3-9DDE579E8F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11587163" cy="5184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77780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- Airpla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6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6A1776-FC49-43D3-84F2-6BC0A1A7DD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0"/>
            <a:ext cx="6096001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9335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slide - Airpla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67216D5-8CE0-4165-9408-2017AFF7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864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67216D5-8CE0-4165-9408-2017AFF7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A28F8-3220-431F-A3B4-D4E9070629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C0C85D-6C52-48E2-B5C1-D0F8AE032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(Action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A41311-D1DF-47D3-9BBC-9F5AD7D7F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51771" y="6400800"/>
            <a:ext cx="599767" cy="228600"/>
          </a:xfrm>
        </p:spPr>
        <p:txBody>
          <a:bodyPr/>
          <a:lstStyle/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6A1776-FC49-43D3-84F2-6BC0A1A7DD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0"/>
            <a:ext cx="6096001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1431D5-A671-4393-A874-D907500607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052513"/>
            <a:ext cx="5646738" cy="5184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hape 134">
            <a:extLst>
              <a:ext uri="{FF2B5EF4-FFF2-40B4-BE49-F238E27FC236}">
                <a16:creationId xmlns:a16="http://schemas.microsoft.com/office/drawing/2014/main" id="{BD6F4E50-0FC7-4777-9D34-9A910739F602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34B3D0">
              <a:alpha val="80929"/>
            </a:srgbClr>
          </a:solidFill>
          <a:ln w="25400">
            <a:noFill/>
            <a:miter lim="400000"/>
          </a:ln>
          <a:effectLst/>
        </p:spPr>
        <p:txBody>
          <a:bodyPr lIns="29766" tIns="29766" rIns="29766" bIns="29766" anchor="ctr"/>
          <a:lstStyle/>
          <a:p>
            <a:pPr>
              <a:defRPr sz="5600">
                <a:solidFill>
                  <a:srgbClr val="34B3D0"/>
                </a:solidFill>
              </a:defRPr>
            </a:pPr>
            <a:endParaRPr sz="1400">
              <a:latin typeface="Benton Sans Book" panose="0000000000000002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199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tags" Target="../tags/tag10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9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vmlDrawing" Target="../drawings/vmlDrawing5.v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theme" Target="../theme/theme2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39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vmlDrawing" Target="../drawings/vmlDrawing20.v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80F089-0F96-4D99-8C95-0A4D788A50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805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9" imgW="425" imgH="424" progId="TCLayout.ActiveDocument.1">
                  <p:embed/>
                </p:oleObj>
              </mc:Choice>
              <mc:Fallback>
                <p:oleObj name="think-cell Slide" r:id="rId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452714"/>
            <a:ext cx="1762539" cy="97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803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749" r:id="rId3"/>
    <p:sldLayoutId id="2147483751" r:id="rId4"/>
    <p:sldLayoutId id="2147483752" r:id="rId5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92" userDrawn="1">
          <p15:clr>
            <a:srgbClr val="F26B43"/>
          </p15:clr>
        </p15:guide>
        <p15:guide id="2" pos="7488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orient="horz" pos="144" userDrawn="1">
          <p15:clr>
            <a:srgbClr val="F26B43"/>
          </p15:clr>
        </p15:guide>
        <p15:guide id="5" orient="horz" pos="4176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E1A8BC-3E16-44C5-B972-43266D3F52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89137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" name="think-cell Slide" r:id="rId26" imgW="425" imgH="424" progId="TCLayout.ActiveDocument.1">
                  <p:embed/>
                </p:oleObj>
              </mc:Choice>
              <mc:Fallback>
                <p:oleObj name="think-cell Slide" r:id="rId2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FD4B4B2E-5C73-441F-856F-F8D74C4617B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12F96E-BADC-4D22-8D46-774DD27A8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052512"/>
            <a:ext cx="11582400" cy="5184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81E93B-B255-494C-A223-291B847F48D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6452714"/>
            <a:ext cx="1762539" cy="97173"/>
          </a:xfrm>
          <a:prstGeom prst="rect">
            <a:avLst/>
          </a:prstGeom>
        </p:spPr>
      </p:pic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88B54FAD-9BE1-4330-96FB-563FB8ACC7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7433" y="6400800"/>
            <a:ext cx="599767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7">
            <a:extLst>
              <a:ext uri="{FF2B5EF4-FFF2-40B4-BE49-F238E27FC236}">
                <a16:creationId xmlns:a16="http://schemas.microsoft.com/office/drawing/2014/main" id="{75775456-989A-4EB2-BEBD-5F5D4A920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8600"/>
            <a:ext cx="11582400" cy="60801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lvl="0" defTabSz="685800"/>
            <a:r>
              <a:rPr lang="en-US" dirty="0"/>
              <a:t>(Action) title</a:t>
            </a:r>
          </a:p>
        </p:txBody>
      </p:sp>
    </p:spTree>
    <p:extLst>
      <p:ext uri="{BB962C8B-B14F-4D97-AF65-F5344CB8AC3E}">
        <p14:creationId xmlns:p14="http://schemas.microsoft.com/office/powerpoint/2010/main" val="915050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2" r:id="rId2"/>
    <p:sldLayoutId id="2147483714" r:id="rId3"/>
    <p:sldLayoutId id="2147483743" r:id="rId4"/>
    <p:sldLayoutId id="2147483722" r:id="rId5"/>
    <p:sldLayoutId id="2147483744" r:id="rId6"/>
    <p:sldLayoutId id="2147483739" r:id="rId7"/>
    <p:sldLayoutId id="2147483745" r:id="rId8"/>
    <p:sldLayoutId id="2147483740" r:id="rId9"/>
    <p:sldLayoutId id="2147483746" r:id="rId10"/>
    <p:sldLayoutId id="2147483741" r:id="rId11"/>
    <p:sldLayoutId id="2147483747" r:id="rId12"/>
    <p:sldLayoutId id="2147483742" r:id="rId13"/>
    <p:sldLayoutId id="2147483748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0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2800" indent="-1728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Benton Sans Book" panose="00000000000000020000" pitchFamily="2" charset="0"/>
          <a:ea typeface="+mn-ea"/>
          <a:cs typeface="+mn-cs"/>
        </a:defRPr>
      </a:lvl1pPr>
      <a:lvl2pPr marL="360000" indent="-1728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Benton Sans Book" panose="00000000000000020000" pitchFamily="2" charset="0"/>
          <a:ea typeface="+mn-ea"/>
          <a:cs typeface="+mn-cs"/>
        </a:defRPr>
      </a:lvl2pPr>
      <a:lvl3pPr marL="540000" indent="-1728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Benton Sans Book" panose="00000000000000020000" pitchFamily="2" charset="0"/>
          <a:ea typeface="+mn-ea"/>
          <a:cs typeface="+mn-cs"/>
        </a:defRPr>
      </a:lvl3pPr>
      <a:lvl4pPr marL="720000" indent="-1728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Benton Sans Book" panose="00000000000000020000" pitchFamily="2" charset="0"/>
          <a:ea typeface="+mn-ea"/>
          <a:cs typeface="+mn-cs"/>
        </a:defRPr>
      </a:lvl4pPr>
      <a:lvl5pPr marL="900000" indent="-1728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Benton Sans Book" panose="0000000000000002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 userDrawn="1">
          <p15:clr>
            <a:srgbClr val="F26B43"/>
          </p15:clr>
        </p15:guide>
        <p15:guide id="2" orient="horz" pos="527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pos="189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pos="7491" userDrawn="1">
          <p15:clr>
            <a:srgbClr val="F26B43"/>
          </p15:clr>
        </p15:guide>
        <p15:guide id="9" orient="horz" pos="3929" userDrawn="1">
          <p15:clr>
            <a:srgbClr val="F26B43"/>
          </p15:clr>
        </p15:guide>
        <p15:guide id="10" orient="horz" pos="4178" userDrawn="1">
          <p15:clr>
            <a:srgbClr val="F26B43"/>
          </p15:clr>
        </p15:guide>
        <p15:guide id="11" orient="horz" pos="229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3F9DF3-E68B-435C-BA96-93232FFB1C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24414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2" name="think-cell Slide" r:id="rId17" imgW="425" imgH="424" progId="TCLayout.ActiveDocument.1">
                  <p:embed/>
                </p:oleObj>
              </mc:Choice>
              <mc:Fallback>
                <p:oleObj name="think-cell Slide" r:id="rId17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232373" y="6400800"/>
            <a:ext cx="654827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A03527EF-ECCC-43C3-AD37-AB807445E8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66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701" r:id="rId2"/>
    <p:sldLayoutId id="2147483702" r:id="rId3"/>
    <p:sldLayoutId id="2147483687" r:id="rId4"/>
    <p:sldLayoutId id="2147483688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89" r:id="rId11"/>
    <p:sldLayoutId id="2147483653" r:id="rId12"/>
    <p:sldLayoutId id="2147483695" r:id="rId13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432" userDrawn="1">
          <p15:clr>
            <a:srgbClr val="F26B43"/>
          </p15:clr>
        </p15:guide>
        <p15:guide id="1" pos="192" userDrawn="1">
          <p15:clr>
            <a:srgbClr val="F26B43"/>
          </p15:clr>
        </p15:guide>
        <p15:guide id="2" pos="7488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orient="horz" pos="144" userDrawn="1">
          <p15:clr>
            <a:srgbClr val="F26B43"/>
          </p15:clr>
        </p15:guide>
        <p15:guide id="5" orient="horz" pos="4176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Relationship Id="rId9" Type="http://schemas.openxmlformats.org/officeDocument/2006/relationships/image" Target="../media/image33.sv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png"/><Relationship Id="rId18" Type="http://schemas.openxmlformats.org/officeDocument/2006/relationships/image" Target="../media/image49.png"/><Relationship Id="rId26" Type="http://schemas.openxmlformats.org/officeDocument/2006/relationships/image" Target="../media/image57.png"/><Relationship Id="rId39" Type="http://schemas.openxmlformats.org/officeDocument/2006/relationships/image" Target="../media/image70.png"/><Relationship Id="rId21" Type="http://schemas.openxmlformats.org/officeDocument/2006/relationships/image" Target="../media/image52.png"/><Relationship Id="rId34" Type="http://schemas.openxmlformats.org/officeDocument/2006/relationships/image" Target="../media/image65.png"/><Relationship Id="rId42" Type="http://schemas.openxmlformats.org/officeDocument/2006/relationships/image" Target="../media/image73.png"/><Relationship Id="rId47" Type="http://schemas.openxmlformats.org/officeDocument/2006/relationships/image" Target="../media/image78.sv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7.png"/><Relationship Id="rId29" Type="http://schemas.openxmlformats.org/officeDocument/2006/relationships/image" Target="../media/image6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24" Type="http://schemas.openxmlformats.org/officeDocument/2006/relationships/image" Target="../media/image55.png"/><Relationship Id="rId32" Type="http://schemas.openxmlformats.org/officeDocument/2006/relationships/image" Target="../media/image63.png"/><Relationship Id="rId37" Type="http://schemas.openxmlformats.org/officeDocument/2006/relationships/image" Target="../media/image68.png"/><Relationship Id="rId40" Type="http://schemas.openxmlformats.org/officeDocument/2006/relationships/image" Target="../media/image71.png"/><Relationship Id="rId45" Type="http://schemas.openxmlformats.org/officeDocument/2006/relationships/image" Target="../media/image76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23" Type="http://schemas.openxmlformats.org/officeDocument/2006/relationships/image" Target="../media/image54.png"/><Relationship Id="rId28" Type="http://schemas.openxmlformats.org/officeDocument/2006/relationships/image" Target="../media/image59.png"/><Relationship Id="rId36" Type="http://schemas.openxmlformats.org/officeDocument/2006/relationships/image" Target="../media/image67.png"/><Relationship Id="rId10" Type="http://schemas.openxmlformats.org/officeDocument/2006/relationships/image" Target="../media/image41.png"/><Relationship Id="rId19" Type="http://schemas.openxmlformats.org/officeDocument/2006/relationships/image" Target="../media/image50.png"/><Relationship Id="rId31" Type="http://schemas.openxmlformats.org/officeDocument/2006/relationships/image" Target="../media/image62.png"/><Relationship Id="rId44" Type="http://schemas.openxmlformats.org/officeDocument/2006/relationships/image" Target="../media/image75.png"/><Relationship Id="rId4" Type="http://schemas.openxmlformats.org/officeDocument/2006/relationships/image" Target="../media/image35.svg"/><Relationship Id="rId9" Type="http://schemas.openxmlformats.org/officeDocument/2006/relationships/image" Target="../media/image40.jpeg"/><Relationship Id="rId14" Type="http://schemas.openxmlformats.org/officeDocument/2006/relationships/image" Target="../media/image45.png"/><Relationship Id="rId22" Type="http://schemas.openxmlformats.org/officeDocument/2006/relationships/image" Target="../media/image53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35" Type="http://schemas.openxmlformats.org/officeDocument/2006/relationships/image" Target="../media/image66.png"/><Relationship Id="rId43" Type="http://schemas.openxmlformats.org/officeDocument/2006/relationships/image" Target="../media/image74.png"/><Relationship Id="rId48" Type="http://schemas.openxmlformats.org/officeDocument/2006/relationships/image" Target="../media/image79.png"/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5" Type="http://schemas.openxmlformats.org/officeDocument/2006/relationships/image" Target="../media/image56.png"/><Relationship Id="rId33" Type="http://schemas.openxmlformats.org/officeDocument/2006/relationships/image" Target="../media/image64.png"/><Relationship Id="rId38" Type="http://schemas.openxmlformats.org/officeDocument/2006/relationships/image" Target="../media/image69.png"/><Relationship Id="rId46" Type="http://schemas.openxmlformats.org/officeDocument/2006/relationships/image" Target="../media/image77.png"/><Relationship Id="rId20" Type="http://schemas.openxmlformats.org/officeDocument/2006/relationships/image" Target="../media/image51.png"/><Relationship Id="rId41" Type="http://schemas.openxmlformats.org/officeDocument/2006/relationships/image" Target="../media/image7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svg"/><Relationship Id="rId13" Type="http://schemas.openxmlformats.org/officeDocument/2006/relationships/image" Target="../media/image90.png"/><Relationship Id="rId3" Type="http://schemas.openxmlformats.org/officeDocument/2006/relationships/tags" Target="../tags/tag43.xml"/><Relationship Id="rId7" Type="http://schemas.openxmlformats.org/officeDocument/2006/relationships/image" Target="../media/image84.png"/><Relationship Id="rId12" Type="http://schemas.openxmlformats.org/officeDocument/2006/relationships/image" Target="../media/image89.svg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88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87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6.png"/><Relationship Id="rId14" Type="http://schemas.openxmlformats.org/officeDocument/2006/relationships/image" Target="../media/image91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8D3C0-4BE6-41AD-B0FA-D12C0FD3B7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000" dirty="0"/>
              <a:t>Case for 02582</a:t>
            </a:r>
          </a:p>
          <a:p>
            <a:endParaRPr lang="en-DK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05D8FB8-FDD1-4905-BC65-B0049DB17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72024"/>
            <a:ext cx="10515600" cy="505337"/>
          </a:xfrm>
        </p:spPr>
        <p:txBody>
          <a:bodyPr/>
          <a:lstStyle/>
          <a:p>
            <a:r>
              <a:rPr lang="en-US" sz="3200" dirty="0"/>
              <a:t>COPENHAGEN </a:t>
            </a:r>
            <a:r>
              <a:rPr lang="en-US" sz="3200" dirty="0">
                <a:solidFill>
                  <a:srgbClr val="4FBCD1"/>
                </a:solidFill>
              </a:rPr>
              <a:t>OPTIMIZATION</a:t>
            </a:r>
          </a:p>
        </p:txBody>
      </p:sp>
    </p:spTree>
    <p:extLst>
      <p:ext uri="{BB962C8B-B14F-4D97-AF65-F5344CB8AC3E}">
        <p14:creationId xmlns:p14="http://schemas.microsoft.com/office/powerpoint/2010/main" val="2925572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252399F-D01E-4771-9BB6-8DBA9ED61864}"/>
              </a:ext>
            </a:extLst>
          </p:cNvPr>
          <p:cNvSpPr/>
          <p:nvPr/>
        </p:nvSpPr>
        <p:spPr>
          <a:xfrm>
            <a:off x="6300536" y="914399"/>
            <a:ext cx="5434263" cy="540657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620D5B-17AC-4EB1-AB74-C3313C79F973}"/>
              </a:ext>
            </a:extLst>
          </p:cNvPr>
          <p:cNvSpPr txBox="1"/>
          <p:nvPr/>
        </p:nvSpPr>
        <p:spPr>
          <a:xfrm>
            <a:off x="6616622" y="3953691"/>
            <a:ext cx="4802089" cy="1772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>
                <a:latin typeface="Benton Sans Book" panose="00000000000000020000" pitchFamily="2" charset="0"/>
              </a:rPr>
              <a:t>Emilie Knutz</a:t>
            </a:r>
            <a:br>
              <a:rPr lang="en-US" sz="1400" dirty="0">
                <a:latin typeface="Benton Sans Book" panose="00000000000000020000" pitchFamily="2" charset="0"/>
              </a:rPr>
            </a:br>
            <a:r>
              <a:rPr lang="en-US" sz="1400" i="1" dirty="0">
                <a:latin typeface="Benton Sans Book" panose="00000000000000020000" pitchFamily="2" charset="0"/>
              </a:rPr>
              <a:t>Senior Consultant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MSc in Engineering from DTU, 2017 – Mathematical Modelling and Computation specialized in data analysis and operations research</a:t>
            </a:r>
          </a:p>
          <a:p>
            <a:endParaRPr lang="en-US" sz="1400" dirty="0"/>
          </a:p>
          <a:p>
            <a:r>
              <a:rPr lang="en-US" sz="1400" dirty="0">
                <a:solidFill>
                  <a:schemeClr val="tx1"/>
                </a:solidFill>
              </a:rPr>
              <a:t>Worked at Copenhagen Optimization sinc</a:t>
            </a:r>
            <a:r>
              <a:rPr lang="en-US" sz="1400" dirty="0"/>
              <a:t>e gradu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5CA3911-1521-4DE7-90F0-8FECAC1DA75B}"/>
              </a:ext>
            </a:extLst>
          </p:cNvPr>
          <p:cNvSpPr txBox="1">
            <a:spLocks/>
          </p:cNvSpPr>
          <p:nvPr/>
        </p:nvSpPr>
        <p:spPr>
          <a:xfrm>
            <a:off x="160328" y="247365"/>
            <a:ext cx="5791200" cy="457199"/>
          </a:xfrm>
          <a:prstGeom prst="rect">
            <a:avLst/>
          </a:prstGeom>
        </p:spPr>
        <p:txBody>
          <a:bodyPr anchor="b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261983-F917-4F9B-AA62-B72A23C2D8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85742A7-4CF8-4F0E-9993-BD0150DAB1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We have a consultancy team and development team. </a:t>
            </a:r>
          </a:p>
          <a:p>
            <a:r>
              <a:rPr lang="en-US" dirty="0"/>
              <a:t>Our consultancy team consists primarily of engineers with expertise in data analysis and operational research. </a:t>
            </a:r>
          </a:p>
          <a:p>
            <a:r>
              <a:rPr lang="en-US" dirty="0"/>
              <a:t>Our development team has broad experience and many of our developers have an educational background within mathematics and data science. </a:t>
            </a:r>
            <a:endParaRPr lang="en-DK" dirty="0"/>
          </a:p>
        </p:txBody>
      </p:sp>
      <p:pic>
        <p:nvPicPr>
          <p:cNvPr id="17" name="Picture 16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D3C8DD08-CC0C-4DE0-93F2-565247C302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9720" y="1449735"/>
            <a:ext cx="2923761" cy="194917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0E92C52-B04D-449D-AFE8-ADB8AD02BDCA}"/>
              </a:ext>
            </a:extLst>
          </p:cNvPr>
          <p:cNvSpPr txBox="1"/>
          <p:nvPr/>
        </p:nvSpPr>
        <p:spPr>
          <a:xfrm>
            <a:off x="300038" y="1961379"/>
            <a:ext cx="565149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None/>
            </a:pPr>
            <a:r>
              <a:rPr lang="en-US" sz="1200" dirty="0">
                <a:latin typeface="Benton Sans Book" panose="00000000000000020000" pitchFamily="2" charset="0"/>
              </a:rPr>
              <a:t>Copenhagen Optimization is a </a:t>
            </a:r>
            <a:r>
              <a:rPr lang="en-US" sz="1200" b="1" dirty="0">
                <a:latin typeface="Benton Sans Book" panose="00000000000000020000" pitchFamily="2" charset="0"/>
              </a:rPr>
              <a:t>software</a:t>
            </a:r>
            <a:r>
              <a:rPr lang="en-US" sz="1200" dirty="0">
                <a:latin typeface="Benton Sans Book" panose="00000000000000020000" pitchFamily="2" charset="0"/>
              </a:rPr>
              <a:t> and </a:t>
            </a:r>
            <a:r>
              <a:rPr lang="en-US" sz="1200" b="1" dirty="0">
                <a:latin typeface="Benton Sans Book" panose="00000000000000020000" pitchFamily="2" charset="0"/>
              </a:rPr>
              <a:t>consultancy</a:t>
            </a:r>
            <a:r>
              <a:rPr lang="en-US" sz="1200" dirty="0">
                <a:latin typeface="Benton Sans Book" panose="00000000000000020000" pitchFamily="2" charset="0"/>
              </a:rPr>
              <a:t> company </a:t>
            </a:r>
            <a:br>
              <a:rPr lang="en-US" sz="1200" dirty="0">
                <a:latin typeface="Benton Sans Book" panose="00000000000000020000" pitchFamily="2" charset="0"/>
              </a:rPr>
            </a:br>
            <a:r>
              <a:rPr lang="en-US" sz="1200" dirty="0">
                <a:latin typeface="Benton Sans Book" panose="00000000000000020000" pitchFamily="2" charset="0"/>
              </a:rPr>
              <a:t>specialized in airport operations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5A89994-D19A-4155-B55D-C4AE5247574F}"/>
              </a:ext>
            </a:extLst>
          </p:cNvPr>
          <p:cNvGrpSpPr/>
          <p:nvPr/>
        </p:nvGrpSpPr>
        <p:grpSpPr>
          <a:xfrm>
            <a:off x="300038" y="2714426"/>
            <a:ext cx="5651501" cy="948611"/>
            <a:chOff x="300037" y="2641662"/>
            <a:chExt cx="5651501" cy="948611"/>
          </a:xfrm>
        </p:grpSpPr>
        <p:pic>
          <p:nvPicPr>
            <p:cNvPr id="20" name="Graphic 19" descr="Building">
              <a:extLst>
                <a:ext uri="{FF2B5EF4-FFF2-40B4-BE49-F238E27FC236}">
                  <a16:creationId xmlns:a16="http://schemas.microsoft.com/office/drawing/2014/main" id="{0F7C31A3-F315-4E17-9F52-1B5E00BC7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55787" y="2641662"/>
              <a:ext cx="540000" cy="540000"/>
            </a:xfrm>
            <a:prstGeom prst="rect">
              <a:avLst/>
            </a:prstGeom>
          </p:spPr>
        </p:pic>
        <p:pic>
          <p:nvPicPr>
            <p:cNvPr id="21" name="Graphic 20" descr="Take Off">
              <a:extLst>
                <a:ext uri="{FF2B5EF4-FFF2-40B4-BE49-F238E27FC236}">
                  <a16:creationId xmlns:a16="http://schemas.microsoft.com/office/drawing/2014/main" id="{18B0BF0D-B6AD-4A17-A076-781DCE9A3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42436" y="2641662"/>
              <a:ext cx="540000" cy="5400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84A1C29-2206-4A40-A2F4-664F695FFC93}"/>
                </a:ext>
              </a:extLst>
            </p:cNvPr>
            <p:cNvSpPr txBox="1"/>
            <p:nvPr/>
          </p:nvSpPr>
          <p:spPr>
            <a:xfrm>
              <a:off x="300037" y="3313274"/>
              <a:ext cx="182479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latin typeface="Benton Sans Book" panose="00000000000000020000" pitchFamily="2" charset="0"/>
                </a:rPr>
                <a:t>Founded in 2014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065F6AF-BC13-44A0-8C0B-6BC8B30129DF}"/>
                </a:ext>
              </a:extLst>
            </p:cNvPr>
            <p:cNvSpPr txBox="1"/>
            <p:nvPr/>
          </p:nvSpPr>
          <p:spPr>
            <a:xfrm>
              <a:off x="2213388" y="3220941"/>
              <a:ext cx="18247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latin typeface="Benton Sans Book" panose="00000000000000020000" pitchFamily="2" charset="0"/>
                </a:rPr>
                <a:t>HQ in Copenhagen, Denmark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54B1B51-9089-48B4-BDEB-0632D658D4CE}"/>
                </a:ext>
              </a:extLst>
            </p:cNvPr>
            <p:cNvSpPr txBox="1"/>
            <p:nvPr/>
          </p:nvSpPr>
          <p:spPr>
            <a:xfrm>
              <a:off x="4126739" y="3313274"/>
              <a:ext cx="182479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en-US" sz="1200" dirty="0">
                  <a:latin typeface="Benton Sans Book" panose="00000000000000020000" pitchFamily="2" charset="0"/>
                </a:rPr>
                <a:t>21 FTEs</a:t>
              </a:r>
            </a:p>
          </p:txBody>
        </p:sp>
        <p:pic>
          <p:nvPicPr>
            <p:cNvPr id="25" name="Graphic 24" descr="Group of people">
              <a:extLst>
                <a:ext uri="{FF2B5EF4-FFF2-40B4-BE49-F238E27FC236}">
                  <a16:creationId xmlns:a16="http://schemas.microsoft.com/office/drawing/2014/main" id="{10F4FD5B-8858-4C1D-9ABE-C056D322B4A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769138" y="2641662"/>
              <a:ext cx="540000" cy="5400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507228F-F224-4F08-8F86-28C1BEF1C52A}"/>
              </a:ext>
            </a:extLst>
          </p:cNvPr>
          <p:cNvGrpSpPr/>
          <p:nvPr/>
        </p:nvGrpSpPr>
        <p:grpSpPr>
          <a:xfrm>
            <a:off x="304800" y="1337871"/>
            <a:ext cx="5400676" cy="239792"/>
            <a:chOff x="304800" y="1337871"/>
            <a:chExt cx="1725668" cy="23979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44AC0F5-184B-422A-A4FA-F044539C3A11}"/>
                </a:ext>
              </a:extLst>
            </p:cNvPr>
            <p:cNvSpPr txBox="1"/>
            <p:nvPr/>
          </p:nvSpPr>
          <p:spPr>
            <a:xfrm>
              <a:off x="304800" y="1337871"/>
              <a:ext cx="1725666" cy="184666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b" anchorCtr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200" b="1" dirty="0"/>
                <a:t>Who we are</a:t>
              </a:r>
              <a:endParaRPr lang="en-US" sz="1200" dirty="0"/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F168443-684C-4C58-A5B9-23A723656663}"/>
                </a:ext>
              </a:extLst>
            </p:cNvPr>
            <p:cNvCxnSpPr/>
            <p:nvPr/>
          </p:nvCxnSpPr>
          <p:spPr>
            <a:xfrm>
              <a:off x="304801" y="1577663"/>
              <a:ext cx="1725667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115998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2" name="Group 271">
            <a:extLst>
              <a:ext uri="{FF2B5EF4-FFF2-40B4-BE49-F238E27FC236}">
                <a16:creationId xmlns:a16="http://schemas.microsoft.com/office/drawing/2014/main" id="{C0F87D5E-1A02-4907-A373-84278BD6FFDC}"/>
              </a:ext>
            </a:extLst>
          </p:cNvPr>
          <p:cNvGrpSpPr/>
          <p:nvPr/>
        </p:nvGrpSpPr>
        <p:grpSpPr>
          <a:xfrm>
            <a:off x="6246616" y="1337871"/>
            <a:ext cx="5400676" cy="239792"/>
            <a:chOff x="304800" y="1337871"/>
            <a:chExt cx="1725668" cy="239792"/>
          </a:xfrm>
        </p:grpSpPr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45D1FD62-158F-4AED-8893-44B19F5FA0CA}"/>
                </a:ext>
              </a:extLst>
            </p:cNvPr>
            <p:cNvSpPr txBox="1"/>
            <p:nvPr/>
          </p:nvSpPr>
          <p:spPr>
            <a:xfrm>
              <a:off x="304800" y="1337871"/>
              <a:ext cx="1725666" cy="184666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b" anchorCtr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200" b="1" dirty="0"/>
                <a:t>Our footprint</a:t>
              </a:r>
              <a:endParaRPr lang="en-US" sz="1200" dirty="0"/>
            </a:p>
          </p:txBody>
        </p: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DF7D3C71-D244-441A-B931-6EDE6843276D}"/>
                </a:ext>
              </a:extLst>
            </p:cNvPr>
            <p:cNvCxnSpPr/>
            <p:nvPr/>
          </p:nvCxnSpPr>
          <p:spPr>
            <a:xfrm>
              <a:off x="304801" y="1577663"/>
              <a:ext cx="1725667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523ECD9-6AFC-F84A-B4C1-CD98974ADB52}"/>
              </a:ext>
            </a:extLst>
          </p:cNvPr>
          <p:cNvGrpSpPr/>
          <p:nvPr/>
        </p:nvGrpSpPr>
        <p:grpSpPr>
          <a:xfrm>
            <a:off x="656440" y="2117012"/>
            <a:ext cx="1562677" cy="540000"/>
            <a:chOff x="811009" y="4416714"/>
            <a:chExt cx="1562677" cy="540000"/>
          </a:xfrm>
        </p:grpSpPr>
        <p:pic>
          <p:nvPicPr>
            <p:cNvPr id="223" name="Graphic 222" descr="Person with idea">
              <a:extLst>
                <a:ext uri="{FF2B5EF4-FFF2-40B4-BE49-F238E27FC236}">
                  <a16:creationId xmlns:a16="http://schemas.microsoft.com/office/drawing/2014/main" id="{AEB63BD5-DF08-403A-A0A9-4033DBB22E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11009" y="4416714"/>
              <a:ext cx="540000" cy="540000"/>
            </a:xfrm>
            <a:prstGeom prst="rect">
              <a:avLst/>
            </a:prstGeom>
          </p:spPr>
        </p:pic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9E3FEDD3-5C6E-44CE-9E22-3C5165E12568}"/>
                </a:ext>
              </a:extLst>
            </p:cNvPr>
            <p:cNvSpPr txBox="1"/>
            <p:nvPr/>
          </p:nvSpPr>
          <p:spPr>
            <a:xfrm>
              <a:off x="1344490" y="4616771"/>
              <a:ext cx="102919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en-US" sz="1200" b="1" dirty="0">
                  <a:latin typeface="Benton Sans Book" panose="00000000000000020000" pitchFamily="2" charset="0"/>
                </a:rPr>
                <a:t>Consultanc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94EB9F-E622-D74D-B1B7-9DEE3294CEE7}"/>
              </a:ext>
            </a:extLst>
          </p:cNvPr>
          <p:cNvGrpSpPr/>
          <p:nvPr/>
        </p:nvGrpSpPr>
        <p:grpSpPr>
          <a:xfrm>
            <a:off x="3594442" y="2117012"/>
            <a:ext cx="1562677" cy="540000"/>
            <a:chOff x="3743026" y="4416714"/>
            <a:chExt cx="1562677" cy="540000"/>
          </a:xfrm>
        </p:grpSpPr>
        <p:pic>
          <p:nvPicPr>
            <p:cNvPr id="229" name="Graphic 228" descr="Internet">
              <a:extLst>
                <a:ext uri="{FF2B5EF4-FFF2-40B4-BE49-F238E27FC236}">
                  <a16:creationId xmlns:a16="http://schemas.microsoft.com/office/drawing/2014/main" id="{DD82176D-0843-42E3-8A1F-D82666DF2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43026" y="4416714"/>
              <a:ext cx="540000" cy="540000"/>
            </a:xfrm>
            <a:prstGeom prst="rect">
              <a:avLst/>
            </a:prstGeom>
          </p:spPr>
        </p:pic>
        <p:sp>
          <p:nvSpPr>
            <p:cNvPr id="233" name="TextBox 232">
              <a:extLst>
                <a:ext uri="{FF2B5EF4-FFF2-40B4-BE49-F238E27FC236}">
                  <a16:creationId xmlns:a16="http://schemas.microsoft.com/office/drawing/2014/main" id="{59FF3395-8B6D-4A72-9459-DABA21BC396D}"/>
                </a:ext>
              </a:extLst>
            </p:cNvPr>
            <p:cNvSpPr txBox="1"/>
            <p:nvPr/>
          </p:nvSpPr>
          <p:spPr>
            <a:xfrm>
              <a:off x="4276507" y="4616771"/>
              <a:ext cx="102919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buNone/>
              </a:pPr>
              <a:r>
                <a:rPr lang="en-US" sz="1200" b="1" dirty="0">
                  <a:latin typeface="Benton Sans Book" panose="00000000000000020000" pitchFamily="2" charset="0"/>
                </a:rPr>
                <a:t>Software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9637BE1-BDC9-40A4-A0E7-D9662B7B0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Copenhagen Optimiz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14EDDA-D9A2-4A86-BB69-75D386B45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D61E17-0EAF-4327-9D09-42520588AD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11D9888-AC54-404A-AF1C-86B5188F41EB}"/>
              </a:ext>
            </a:extLst>
          </p:cNvPr>
          <p:cNvGrpSpPr/>
          <p:nvPr/>
        </p:nvGrpSpPr>
        <p:grpSpPr>
          <a:xfrm>
            <a:off x="6255847" y="2788862"/>
            <a:ext cx="5636116" cy="2989356"/>
            <a:chOff x="82065" y="254222"/>
            <a:chExt cx="11807303" cy="6262512"/>
          </a:xfrm>
        </p:grpSpPr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AD8DCBE6-2913-4A30-8696-4318A2148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856" y="1465209"/>
              <a:ext cx="7969700" cy="4190626"/>
            </a:xfrm>
            <a:prstGeom prst="rect">
              <a:avLst/>
            </a:prstGeom>
          </p:spPr>
        </p:pic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EDEE7FD7-22C2-42BF-B855-90C1F54F09A5}"/>
                </a:ext>
              </a:extLst>
            </p:cNvPr>
            <p:cNvGrpSpPr/>
            <p:nvPr/>
          </p:nvGrpSpPr>
          <p:grpSpPr>
            <a:xfrm>
              <a:off x="4283667" y="1538288"/>
              <a:ext cx="1436096" cy="1102518"/>
              <a:chOff x="4283667" y="1538288"/>
              <a:chExt cx="1436096" cy="1102518"/>
            </a:xfrm>
          </p:grpSpPr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FA6DE7BA-BD83-450B-A136-4760BF61A7D6}"/>
                  </a:ext>
                </a:extLst>
              </p:cNvPr>
              <p:cNvGrpSpPr/>
              <p:nvPr/>
            </p:nvGrpSpPr>
            <p:grpSpPr>
              <a:xfrm>
                <a:off x="4625954" y="1754175"/>
                <a:ext cx="948368" cy="831724"/>
                <a:chOff x="5595020" y="3651534"/>
                <a:chExt cx="948368" cy="831724"/>
              </a:xfrm>
            </p:grpSpPr>
            <p:pic>
              <p:nvPicPr>
                <p:cNvPr id="103" name="Picture 102">
                  <a:extLst>
                    <a:ext uri="{FF2B5EF4-FFF2-40B4-BE49-F238E27FC236}">
                      <a16:creationId xmlns:a16="http://schemas.microsoft.com/office/drawing/2014/main" id="{60CCBD32-1363-4F5D-A22D-463011DFFC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595020" y="3651534"/>
                  <a:ext cx="948368" cy="831724"/>
                </a:xfrm>
                <a:prstGeom prst="rect">
                  <a:avLst/>
                </a:prstGeom>
              </p:spPr>
            </p:pic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504D7974-33FA-4B5E-BFED-58BC5E8094B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965608" y="4199043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45970ACB-D67B-4B37-BC36-3DDF8F816DF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248960" y="4374689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06" name="Oval 105">
                  <a:extLst>
                    <a:ext uri="{FF2B5EF4-FFF2-40B4-BE49-F238E27FC236}">
                      <a16:creationId xmlns:a16="http://schemas.microsoft.com/office/drawing/2014/main" id="{B70088A2-BD64-4F71-BC96-43065DAEC5F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294462" y="4271276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07" name="Oval 106">
                  <a:extLst>
                    <a:ext uri="{FF2B5EF4-FFF2-40B4-BE49-F238E27FC236}">
                      <a16:creationId xmlns:a16="http://schemas.microsoft.com/office/drawing/2014/main" id="{1F2DA00E-3323-4F21-9F58-FC0BDC909D8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314738" y="4329186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99B7A9CF-C542-4D1C-81B4-723BA9284A4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197340" y="3966303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09" name="Oval 108">
                  <a:extLst>
                    <a:ext uri="{FF2B5EF4-FFF2-40B4-BE49-F238E27FC236}">
                      <a16:creationId xmlns:a16="http://schemas.microsoft.com/office/drawing/2014/main" id="{A67F9206-0030-4E74-8402-CB4DA58E63E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095501" y="3977899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10" name="Oval 109">
                  <a:extLst>
                    <a:ext uri="{FF2B5EF4-FFF2-40B4-BE49-F238E27FC236}">
                      <a16:creationId xmlns:a16="http://schemas.microsoft.com/office/drawing/2014/main" id="{E90A82E1-A0DF-414A-B46E-CFAED37CD89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189379" y="3886894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11" name="Oval 110">
                  <a:extLst>
                    <a:ext uri="{FF2B5EF4-FFF2-40B4-BE49-F238E27FC236}">
                      <a16:creationId xmlns:a16="http://schemas.microsoft.com/office/drawing/2014/main" id="{30FC7ADC-0EEC-4387-8563-10B38D3430B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174243" y="4374689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B24B1CF0-AEED-4634-8671-F4AF2A28A3A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353397" y="4267524"/>
                  <a:ext cx="91005" cy="91005"/>
                </a:xfrm>
                <a:prstGeom prst="ellipse">
                  <a:avLst/>
                </a:prstGeom>
                <a:solidFill>
                  <a:schemeClr val="bg2"/>
                </a:solidFill>
                <a:ln w="285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4A7A9362-1FC8-4D6F-8498-2C3CF4B15AD3}"/>
                  </a:ext>
                </a:extLst>
              </p:cNvPr>
              <p:cNvSpPr/>
              <p:nvPr/>
            </p:nvSpPr>
            <p:spPr>
              <a:xfrm>
                <a:off x="4283667" y="1538288"/>
                <a:ext cx="1436096" cy="516731"/>
              </a:xfrm>
              <a:custGeom>
                <a:avLst/>
                <a:gdLst>
                  <a:gd name="connsiteX0" fmla="*/ 88308 w 1436096"/>
                  <a:gd name="connsiteY0" fmla="*/ 276225 h 516731"/>
                  <a:gd name="connsiteX1" fmla="*/ 88308 w 1436096"/>
                  <a:gd name="connsiteY1" fmla="*/ 276225 h 516731"/>
                  <a:gd name="connsiteX2" fmla="*/ 64496 w 1436096"/>
                  <a:gd name="connsiteY2" fmla="*/ 278606 h 516731"/>
                  <a:gd name="connsiteX3" fmla="*/ 57352 w 1436096"/>
                  <a:gd name="connsiteY3" fmla="*/ 280987 h 516731"/>
                  <a:gd name="connsiteX4" fmla="*/ 47827 w 1436096"/>
                  <a:gd name="connsiteY4" fmla="*/ 283368 h 516731"/>
                  <a:gd name="connsiteX5" fmla="*/ 33539 w 1436096"/>
                  <a:gd name="connsiteY5" fmla="*/ 288131 h 516731"/>
                  <a:gd name="connsiteX6" fmla="*/ 14489 w 1436096"/>
                  <a:gd name="connsiteY6" fmla="*/ 309562 h 516731"/>
                  <a:gd name="connsiteX7" fmla="*/ 4964 w 1436096"/>
                  <a:gd name="connsiteY7" fmla="*/ 333375 h 516731"/>
                  <a:gd name="connsiteX8" fmla="*/ 2583 w 1436096"/>
                  <a:gd name="connsiteY8" fmla="*/ 345281 h 516731"/>
                  <a:gd name="connsiteX9" fmla="*/ 202 w 1436096"/>
                  <a:gd name="connsiteY9" fmla="*/ 352425 h 516731"/>
                  <a:gd name="connsiteX10" fmla="*/ 4964 w 1436096"/>
                  <a:gd name="connsiteY10" fmla="*/ 402431 h 516731"/>
                  <a:gd name="connsiteX11" fmla="*/ 9727 w 1436096"/>
                  <a:gd name="connsiteY11" fmla="*/ 409575 h 516731"/>
                  <a:gd name="connsiteX12" fmla="*/ 16871 w 1436096"/>
                  <a:gd name="connsiteY12" fmla="*/ 416718 h 516731"/>
                  <a:gd name="connsiteX13" fmla="*/ 24014 w 1436096"/>
                  <a:gd name="connsiteY13" fmla="*/ 421481 h 516731"/>
                  <a:gd name="connsiteX14" fmla="*/ 28777 w 1436096"/>
                  <a:gd name="connsiteY14" fmla="*/ 428625 h 516731"/>
                  <a:gd name="connsiteX15" fmla="*/ 35921 w 1436096"/>
                  <a:gd name="connsiteY15" fmla="*/ 431006 h 516731"/>
                  <a:gd name="connsiteX16" fmla="*/ 43064 w 1436096"/>
                  <a:gd name="connsiteY16" fmla="*/ 435768 h 516731"/>
                  <a:gd name="connsiteX17" fmla="*/ 50208 w 1436096"/>
                  <a:gd name="connsiteY17" fmla="*/ 438150 h 516731"/>
                  <a:gd name="connsiteX18" fmla="*/ 57352 w 1436096"/>
                  <a:gd name="connsiteY18" fmla="*/ 442912 h 516731"/>
                  <a:gd name="connsiteX19" fmla="*/ 76402 w 1436096"/>
                  <a:gd name="connsiteY19" fmla="*/ 445293 h 516731"/>
                  <a:gd name="connsiteX20" fmla="*/ 90689 w 1436096"/>
                  <a:gd name="connsiteY20" fmla="*/ 450056 h 516731"/>
                  <a:gd name="connsiteX21" fmla="*/ 97833 w 1436096"/>
                  <a:gd name="connsiteY21" fmla="*/ 452437 h 516731"/>
                  <a:gd name="connsiteX22" fmla="*/ 107358 w 1436096"/>
                  <a:gd name="connsiteY22" fmla="*/ 457200 h 516731"/>
                  <a:gd name="connsiteX23" fmla="*/ 131171 w 1436096"/>
                  <a:gd name="connsiteY23" fmla="*/ 464343 h 516731"/>
                  <a:gd name="connsiteX24" fmla="*/ 152602 w 1436096"/>
                  <a:gd name="connsiteY24" fmla="*/ 471487 h 516731"/>
                  <a:gd name="connsiteX25" fmla="*/ 178796 w 1436096"/>
                  <a:gd name="connsiteY25" fmla="*/ 483393 h 516731"/>
                  <a:gd name="connsiteX26" fmla="*/ 185939 w 1436096"/>
                  <a:gd name="connsiteY26" fmla="*/ 488156 h 516731"/>
                  <a:gd name="connsiteX27" fmla="*/ 197846 w 1436096"/>
                  <a:gd name="connsiteY27" fmla="*/ 492918 h 516731"/>
                  <a:gd name="connsiteX28" fmla="*/ 221658 w 1436096"/>
                  <a:gd name="connsiteY28" fmla="*/ 500062 h 516731"/>
                  <a:gd name="connsiteX29" fmla="*/ 228802 w 1436096"/>
                  <a:gd name="connsiteY29" fmla="*/ 507206 h 516731"/>
                  <a:gd name="connsiteX30" fmla="*/ 240708 w 1436096"/>
                  <a:gd name="connsiteY30" fmla="*/ 509587 h 516731"/>
                  <a:gd name="connsiteX31" fmla="*/ 247852 w 1436096"/>
                  <a:gd name="connsiteY31" fmla="*/ 511968 h 516731"/>
                  <a:gd name="connsiteX32" fmla="*/ 264521 w 1436096"/>
                  <a:gd name="connsiteY32" fmla="*/ 516731 h 516731"/>
                  <a:gd name="connsiteX33" fmla="*/ 321671 w 1436096"/>
                  <a:gd name="connsiteY33" fmla="*/ 514350 h 516731"/>
                  <a:gd name="connsiteX34" fmla="*/ 335958 w 1436096"/>
                  <a:gd name="connsiteY34" fmla="*/ 504825 h 516731"/>
                  <a:gd name="connsiteX35" fmla="*/ 352627 w 1436096"/>
                  <a:gd name="connsiteY35" fmla="*/ 500062 h 516731"/>
                  <a:gd name="connsiteX36" fmla="*/ 359771 w 1436096"/>
                  <a:gd name="connsiteY36" fmla="*/ 495300 h 516731"/>
                  <a:gd name="connsiteX37" fmla="*/ 369296 w 1436096"/>
                  <a:gd name="connsiteY37" fmla="*/ 490537 h 516731"/>
                  <a:gd name="connsiteX38" fmla="*/ 374058 w 1436096"/>
                  <a:gd name="connsiteY38" fmla="*/ 483393 h 516731"/>
                  <a:gd name="connsiteX39" fmla="*/ 388346 w 1436096"/>
                  <a:gd name="connsiteY39" fmla="*/ 476250 h 516731"/>
                  <a:gd name="connsiteX40" fmla="*/ 395489 w 1436096"/>
                  <a:gd name="connsiteY40" fmla="*/ 466725 h 516731"/>
                  <a:gd name="connsiteX41" fmla="*/ 402633 w 1436096"/>
                  <a:gd name="connsiteY41" fmla="*/ 461962 h 516731"/>
                  <a:gd name="connsiteX42" fmla="*/ 414539 w 1436096"/>
                  <a:gd name="connsiteY42" fmla="*/ 452437 h 516731"/>
                  <a:gd name="connsiteX43" fmla="*/ 424064 w 1436096"/>
                  <a:gd name="connsiteY43" fmla="*/ 438150 h 516731"/>
                  <a:gd name="connsiteX44" fmla="*/ 438352 w 1436096"/>
                  <a:gd name="connsiteY44" fmla="*/ 421481 h 516731"/>
                  <a:gd name="connsiteX45" fmla="*/ 455021 w 1436096"/>
                  <a:gd name="connsiteY45" fmla="*/ 397668 h 516731"/>
                  <a:gd name="connsiteX46" fmla="*/ 466927 w 1436096"/>
                  <a:gd name="connsiteY46" fmla="*/ 383381 h 516731"/>
                  <a:gd name="connsiteX47" fmla="*/ 474071 w 1436096"/>
                  <a:gd name="connsiteY47" fmla="*/ 373856 h 516731"/>
                  <a:gd name="connsiteX48" fmla="*/ 478833 w 1436096"/>
                  <a:gd name="connsiteY48" fmla="*/ 366712 h 516731"/>
                  <a:gd name="connsiteX49" fmla="*/ 488358 w 1436096"/>
                  <a:gd name="connsiteY49" fmla="*/ 361950 h 516731"/>
                  <a:gd name="connsiteX50" fmla="*/ 500264 w 1436096"/>
                  <a:gd name="connsiteY50" fmla="*/ 352425 h 516731"/>
                  <a:gd name="connsiteX51" fmla="*/ 516933 w 1436096"/>
                  <a:gd name="connsiteY51" fmla="*/ 340518 h 516731"/>
                  <a:gd name="connsiteX52" fmla="*/ 524077 w 1436096"/>
                  <a:gd name="connsiteY52" fmla="*/ 338137 h 516731"/>
                  <a:gd name="connsiteX53" fmla="*/ 552652 w 1436096"/>
                  <a:gd name="connsiteY53" fmla="*/ 326231 h 516731"/>
                  <a:gd name="connsiteX54" fmla="*/ 566939 w 1436096"/>
                  <a:gd name="connsiteY54" fmla="*/ 321468 h 516731"/>
                  <a:gd name="connsiteX55" fmla="*/ 600277 w 1436096"/>
                  <a:gd name="connsiteY55" fmla="*/ 314325 h 516731"/>
                  <a:gd name="connsiteX56" fmla="*/ 614564 w 1436096"/>
                  <a:gd name="connsiteY56" fmla="*/ 309562 h 516731"/>
                  <a:gd name="connsiteX57" fmla="*/ 633614 w 1436096"/>
                  <a:gd name="connsiteY57" fmla="*/ 304800 h 516731"/>
                  <a:gd name="connsiteX58" fmla="*/ 643139 w 1436096"/>
                  <a:gd name="connsiteY58" fmla="*/ 302418 h 516731"/>
                  <a:gd name="connsiteX59" fmla="*/ 659808 w 1436096"/>
                  <a:gd name="connsiteY59" fmla="*/ 295275 h 516731"/>
                  <a:gd name="connsiteX60" fmla="*/ 676477 w 1436096"/>
                  <a:gd name="connsiteY60" fmla="*/ 290512 h 516731"/>
                  <a:gd name="connsiteX61" fmla="*/ 683621 w 1436096"/>
                  <a:gd name="connsiteY61" fmla="*/ 285750 h 516731"/>
                  <a:gd name="connsiteX62" fmla="*/ 707433 w 1436096"/>
                  <a:gd name="connsiteY62" fmla="*/ 278606 h 516731"/>
                  <a:gd name="connsiteX63" fmla="*/ 716958 w 1436096"/>
                  <a:gd name="connsiteY63" fmla="*/ 273843 h 516731"/>
                  <a:gd name="connsiteX64" fmla="*/ 728864 w 1436096"/>
                  <a:gd name="connsiteY64" fmla="*/ 271462 h 516731"/>
                  <a:gd name="connsiteX65" fmla="*/ 747914 w 1436096"/>
                  <a:gd name="connsiteY65" fmla="*/ 266700 h 516731"/>
                  <a:gd name="connsiteX66" fmla="*/ 757439 w 1436096"/>
                  <a:gd name="connsiteY66" fmla="*/ 264318 h 516731"/>
                  <a:gd name="connsiteX67" fmla="*/ 771727 w 1436096"/>
                  <a:gd name="connsiteY67" fmla="*/ 261937 h 516731"/>
                  <a:gd name="connsiteX68" fmla="*/ 781252 w 1436096"/>
                  <a:gd name="connsiteY68" fmla="*/ 259556 h 516731"/>
                  <a:gd name="connsiteX69" fmla="*/ 812208 w 1436096"/>
                  <a:gd name="connsiteY69" fmla="*/ 254793 h 516731"/>
                  <a:gd name="connsiteX70" fmla="*/ 833639 w 1436096"/>
                  <a:gd name="connsiteY70" fmla="*/ 252412 h 516731"/>
                  <a:gd name="connsiteX71" fmla="*/ 847927 w 1436096"/>
                  <a:gd name="connsiteY71" fmla="*/ 250031 h 516731"/>
                  <a:gd name="connsiteX72" fmla="*/ 878883 w 1436096"/>
                  <a:gd name="connsiteY72" fmla="*/ 247650 h 516731"/>
                  <a:gd name="connsiteX73" fmla="*/ 912221 w 1436096"/>
                  <a:gd name="connsiteY73" fmla="*/ 242887 h 516731"/>
                  <a:gd name="connsiteX74" fmla="*/ 1024139 w 1436096"/>
                  <a:gd name="connsiteY74" fmla="*/ 247650 h 516731"/>
                  <a:gd name="connsiteX75" fmla="*/ 1140821 w 1436096"/>
                  <a:gd name="connsiteY75" fmla="*/ 247650 h 516731"/>
                  <a:gd name="connsiteX76" fmla="*/ 1219402 w 1436096"/>
                  <a:gd name="connsiteY76" fmla="*/ 245268 h 516731"/>
                  <a:gd name="connsiteX77" fmla="*/ 1333702 w 1436096"/>
                  <a:gd name="connsiteY77" fmla="*/ 240506 h 516731"/>
                  <a:gd name="connsiteX78" fmla="*/ 1362277 w 1436096"/>
                  <a:gd name="connsiteY78" fmla="*/ 235743 h 516731"/>
                  <a:gd name="connsiteX79" fmla="*/ 1395614 w 1436096"/>
                  <a:gd name="connsiteY79" fmla="*/ 226218 h 516731"/>
                  <a:gd name="connsiteX80" fmla="*/ 1409902 w 1436096"/>
                  <a:gd name="connsiteY80" fmla="*/ 221456 h 516731"/>
                  <a:gd name="connsiteX81" fmla="*/ 1417046 w 1436096"/>
                  <a:gd name="connsiteY81" fmla="*/ 219075 h 516731"/>
                  <a:gd name="connsiteX82" fmla="*/ 1428952 w 1436096"/>
                  <a:gd name="connsiteY82" fmla="*/ 204787 h 516731"/>
                  <a:gd name="connsiteX83" fmla="*/ 1433714 w 1436096"/>
                  <a:gd name="connsiteY83" fmla="*/ 190500 h 516731"/>
                  <a:gd name="connsiteX84" fmla="*/ 1436096 w 1436096"/>
                  <a:gd name="connsiteY84" fmla="*/ 183356 h 516731"/>
                  <a:gd name="connsiteX85" fmla="*/ 1433714 w 1436096"/>
                  <a:gd name="connsiteY85" fmla="*/ 147637 h 516731"/>
                  <a:gd name="connsiteX86" fmla="*/ 1428952 w 1436096"/>
                  <a:gd name="connsiteY86" fmla="*/ 133350 h 516731"/>
                  <a:gd name="connsiteX87" fmla="*/ 1421808 w 1436096"/>
                  <a:gd name="connsiteY87" fmla="*/ 107156 h 516731"/>
                  <a:gd name="connsiteX88" fmla="*/ 1419427 w 1436096"/>
                  <a:gd name="connsiteY88" fmla="*/ 100012 h 516731"/>
                  <a:gd name="connsiteX89" fmla="*/ 1414664 w 1436096"/>
                  <a:gd name="connsiteY89" fmla="*/ 92868 h 516731"/>
                  <a:gd name="connsiteX90" fmla="*/ 1407521 w 1436096"/>
                  <a:gd name="connsiteY90" fmla="*/ 78581 h 516731"/>
                  <a:gd name="connsiteX91" fmla="*/ 1400377 w 1436096"/>
                  <a:gd name="connsiteY91" fmla="*/ 71437 h 516731"/>
                  <a:gd name="connsiteX92" fmla="*/ 1395614 w 1436096"/>
                  <a:gd name="connsiteY92" fmla="*/ 64293 h 516731"/>
                  <a:gd name="connsiteX93" fmla="*/ 1388471 w 1436096"/>
                  <a:gd name="connsiteY93" fmla="*/ 59531 h 516731"/>
                  <a:gd name="connsiteX94" fmla="*/ 1378946 w 1436096"/>
                  <a:gd name="connsiteY94" fmla="*/ 50006 h 516731"/>
                  <a:gd name="connsiteX95" fmla="*/ 1369421 w 1436096"/>
                  <a:gd name="connsiteY95" fmla="*/ 45243 h 516731"/>
                  <a:gd name="connsiteX96" fmla="*/ 1350371 w 1436096"/>
                  <a:gd name="connsiteY96" fmla="*/ 35718 h 516731"/>
                  <a:gd name="connsiteX97" fmla="*/ 1336083 w 1436096"/>
                  <a:gd name="connsiteY97" fmla="*/ 26193 h 516731"/>
                  <a:gd name="connsiteX98" fmla="*/ 1317033 w 1436096"/>
                  <a:gd name="connsiteY98" fmla="*/ 16668 h 516731"/>
                  <a:gd name="connsiteX99" fmla="*/ 1293221 w 1436096"/>
                  <a:gd name="connsiteY99" fmla="*/ 11906 h 516731"/>
                  <a:gd name="connsiteX100" fmla="*/ 1278933 w 1436096"/>
                  <a:gd name="connsiteY100" fmla="*/ 7143 h 516731"/>
                  <a:gd name="connsiteX101" fmla="*/ 1262264 w 1436096"/>
                  <a:gd name="connsiteY101" fmla="*/ 4762 h 516731"/>
                  <a:gd name="connsiteX102" fmla="*/ 1247977 w 1436096"/>
                  <a:gd name="connsiteY102" fmla="*/ 2381 h 516731"/>
                  <a:gd name="connsiteX103" fmla="*/ 1221783 w 1436096"/>
                  <a:gd name="connsiteY103" fmla="*/ 0 h 516731"/>
                  <a:gd name="connsiteX104" fmla="*/ 995564 w 1436096"/>
                  <a:gd name="connsiteY104" fmla="*/ 0 h 516731"/>
                  <a:gd name="connsiteX105" fmla="*/ 886027 w 1436096"/>
                  <a:gd name="connsiteY105" fmla="*/ 4762 h 516731"/>
                  <a:gd name="connsiteX106" fmla="*/ 788396 w 1436096"/>
                  <a:gd name="connsiteY106" fmla="*/ 9525 h 516731"/>
                  <a:gd name="connsiteX107" fmla="*/ 771727 w 1436096"/>
                  <a:gd name="connsiteY107" fmla="*/ 11906 h 516731"/>
                  <a:gd name="connsiteX108" fmla="*/ 750296 w 1436096"/>
                  <a:gd name="connsiteY108" fmla="*/ 14287 h 516731"/>
                  <a:gd name="connsiteX109" fmla="*/ 740771 w 1436096"/>
                  <a:gd name="connsiteY109" fmla="*/ 16668 h 516731"/>
                  <a:gd name="connsiteX110" fmla="*/ 709814 w 1436096"/>
                  <a:gd name="connsiteY110" fmla="*/ 21431 h 516731"/>
                  <a:gd name="connsiteX111" fmla="*/ 695527 w 1436096"/>
                  <a:gd name="connsiteY111" fmla="*/ 26193 h 516731"/>
                  <a:gd name="connsiteX112" fmla="*/ 686002 w 1436096"/>
                  <a:gd name="connsiteY112" fmla="*/ 28575 h 516731"/>
                  <a:gd name="connsiteX113" fmla="*/ 652664 w 1436096"/>
                  <a:gd name="connsiteY113" fmla="*/ 40481 h 516731"/>
                  <a:gd name="connsiteX114" fmla="*/ 638377 w 1436096"/>
                  <a:gd name="connsiteY114" fmla="*/ 42862 h 516731"/>
                  <a:gd name="connsiteX115" fmla="*/ 626471 w 1436096"/>
                  <a:gd name="connsiteY115" fmla="*/ 45243 h 516731"/>
                  <a:gd name="connsiteX116" fmla="*/ 600277 w 1436096"/>
                  <a:gd name="connsiteY116" fmla="*/ 52387 h 516731"/>
                  <a:gd name="connsiteX117" fmla="*/ 590752 w 1436096"/>
                  <a:gd name="connsiteY117" fmla="*/ 57150 h 516731"/>
                  <a:gd name="connsiteX118" fmla="*/ 578846 w 1436096"/>
                  <a:gd name="connsiteY118" fmla="*/ 61912 h 516731"/>
                  <a:gd name="connsiteX119" fmla="*/ 564558 w 1436096"/>
                  <a:gd name="connsiteY119" fmla="*/ 66675 h 516731"/>
                  <a:gd name="connsiteX120" fmla="*/ 557414 w 1436096"/>
                  <a:gd name="connsiteY120" fmla="*/ 69056 h 516731"/>
                  <a:gd name="connsiteX121" fmla="*/ 550271 w 1436096"/>
                  <a:gd name="connsiteY121" fmla="*/ 73818 h 516731"/>
                  <a:gd name="connsiteX122" fmla="*/ 543127 w 1436096"/>
                  <a:gd name="connsiteY122" fmla="*/ 76200 h 516731"/>
                  <a:gd name="connsiteX123" fmla="*/ 516933 w 1436096"/>
                  <a:gd name="connsiteY123" fmla="*/ 80962 h 516731"/>
                  <a:gd name="connsiteX124" fmla="*/ 509789 w 1436096"/>
                  <a:gd name="connsiteY124" fmla="*/ 83343 h 516731"/>
                  <a:gd name="connsiteX125" fmla="*/ 488358 w 1436096"/>
                  <a:gd name="connsiteY125" fmla="*/ 88106 h 516731"/>
                  <a:gd name="connsiteX126" fmla="*/ 478833 w 1436096"/>
                  <a:gd name="connsiteY126" fmla="*/ 90487 h 516731"/>
                  <a:gd name="connsiteX127" fmla="*/ 464546 w 1436096"/>
                  <a:gd name="connsiteY127" fmla="*/ 95250 h 516731"/>
                  <a:gd name="connsiteX128" fmla="*/ 452639 w 1436096"/>
                  <a:gd name="connsiteY128" fmla="*/ 97631 h 516731"/>
                  <a:gd name="connsiteX129" fmla="*/ 438352 w 1436096"/>
                  <a:gd name="connsiteY129" fmla="*/ 100012 h 516731"/>
                  <a:gd name="connsiteX130" fmla="*/ 407396 w 1436096"/>
                  <a:gd name="connsiteY130" fmla="*/ 109537 h 516731"/>
                  <a:gd name="connsiteX131" fmla="*/ 388346 w 1436096"/>
                  <a:gd name="connsiteY131" fmla="*/ 111918 h 516731"/>
                  <a:gd name="connsiteX132" fmla="*/ 378821 w 1436096"/>
                  <a:gd name="connsiteY132" fmla="*/ 114300 h 516731"/>
                  <a:gd name="connsiteX133" fmla="*/ 371677 w 1436096"/>
                  <a:gd name="connsiteY133" fmla="*/ 116681 h 516731"/>
                  <a:gd name="connsiteX134" fmla="*/ 340721 w 1436096"/>
                  <a:gd name="connsiteY134" fmla="*/ 121443 h 516731"/>
                  <a:gd name="connsiteX135" fmla="*/ 331196 w 1436096"/>
                  <a:gd name="connsiteY135" fmla="*/ 123825 h 516731"/>
                  <a:gd name="connsiteX136" fmla="*/ 319289 w 1436096"/>
                  <a:gd name="connsiteY136" fmla="*/ 126206 h 516731"/>
                  <a:gd name="connsiteX137" fmla="*/ 312146 w 1436096"/>
                  <a:gd name="connsiteY137" fmla="*/ 128587 h 516731"/>
                  <a:gd name="connsiteX138" fmla="*/ 293096 w 1436096"/>
                  <a:gd name="connsiteY138" fmla="*/ 133350 h 516731"/>
                  <a:gd name="connsiteX139" fmla="*/ 278808 w 1436096"/>
                  <a:gd name="connsiteY139" fmla="*/ 138112 h 516731"/>
                  <a:gd name="connsiteX140" fmla="*/ 271664 w 1436096"/>
                  <a:gd name="connsiteY140" fmla="*/ 142875 h 516731"/>
                  <a:gd name="connsiteX141" fmla="*/ 257377 w 1436096"/>
                  <a:gd name="connsiteY141" fmla="*/ 157162 h 516731"/>
                  <a:gd name="connsiteX142" fmla="*/ 235946 w 1436096"/>
                  <a:gd name="connsiteY142" fmla="*/ 171450 h 516731"/>
                  <a:gd name="connsiteX143" fmla="*/ 228802 w 1436096"/>
                  <a:gd name="connsiteY143" fmla="*/ 176212 h 516731"/>
                  <a:gd name="connsiteX144" fmla="*/ 221658 w 1436096"/>
                  <a:gd name="connsiteY144" fmla="*/ 180975 h 516731"/>
                  <a:gd name="connsiteX145" fmla="*/ 214514 w 1436096"/>
                  <a:gd name="connsiteY145" fmla="*/ 183356 h 516731"/>
                  <a:gd name="connsiteX146" fmla="*/ 207371 w 1436096"/>
                  <a:gd name="connsiteY146" fmla="*/ 188118 h 516731"/>
                  <a:gd name="connsiteX147" fmla="*/ 190702 w 1436096"/>
                  <a:gd name="connsiteY147" fmla="*/ 192881 h 516731"/>
                  <a:gd name="connsiteX148" fmla="*/ 176414 w 1436096"/>
                  <a:gd name="connsiteY148" fmla="*/ 197643 h 516731"/>
                  <a:gd name="connsiteX149" fmla="*/ 154983 w 1436096"/>
                  <a:gd name="connsiteY149" fmla="*/ 207168 h 516731"/>
                  <a:gd name="connsiteX150" fmla="*/ 147839 w 1436096"/>
                  <a:gd name="connsiteY150" fmla="*/ 209550 h 516731"/>
                  <a:gd name="connsiteX151" fmla="*/ 140696 w 1436096"/>
                  <a:gd name="connsiteY151" fmla="*/ 211931 h 516731"/>
                  <a:gd name="connsiteX152" fmla="*/ 119264 w 1436096"/>
                  <a:gd name="connsiteY152" fmla="*/ 223837 h 516731"/>
                  <a:gd name="connsiteX153" fmla="*/ 107358 w 1436096"/>
                  <a:gd name="connsiteY153" fmla="*/ 245268 h 516731"/>
                  <a:gd name="connsiteX154" fmla="*/ 88308 w 1436096"/>
                  <a:gd name="connsiteY154" fmla="*/ 276225 h 516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1436096" h="516731">
                    <a:moveTo>
                      <a:pt x="88308" y="276225"/>
                    </a:moveTo>
                    <a:lnTo>
                      <a:pt x="88308" y="276225"/>
                    </a:lnTo>
                    <a:cubicBezTo>
                      <a:pt x="80371" y="277019"/>
                      <a:pt x="72380" y="277393"/>
                      <a:pt x="64496" y="278606"/>
                    </a:cubicBezTo>
                    <a:cubicBezTo>
                      <a:pt x="62015" y="278988"/>
                      <a:pt x="59766" y="280297"/>
                      <a:pt x="57352" y="280987"/>
                    </a:cubicBezTo>
                    <a:cubicBezTo>
                      <a:pt x="54205" y="281886"/>
                      <a:pt x="50962" y="282428"/>
                      <a:pt x="47827" y="283368"/>
                    </a:cubicBezTo>
                    <a:cubicBezTo>
                      <a:pt x="43018" y="284811"/>
                      <a:pt x="33539" y="288131"/>
                      <a:pt x="33539" y="288131"/>
                    </a:cubicBezTo>
                    <a:cubicBezTo>
                      <a:pt x="17228" y="304442"/>
                      <a:pt x="22988" y="296814"/>
                      <a:pt x="14489" y="309562"/>
                    </a:cubicBezTo>
                    <a:cubicBezTo>
                      <a:pt x="8605" y="327218"/>
                      <a:pt x="11972" y="319360"/>
                      <a:pt x="4964" y="333375"/>
                    </a:cubicBezTo>
                    <a:cubicBezTo>
                      <a:pt x="4170" y="337344"/>
                      <a:pt x="3565" y="341355"/>
                      <a:pt x="2583" y="345281"/>
                    </a:cubicBezTo>
                    <a:cubicBezTo>
                      <a:pt x="1974" y="347716"/>
                      <a:pt x="202" y="349915"/>
                      <a:pt x="202" y="352425"/>
                    </a:cubicBezTo>
                    <a:cubicBezTo>
                      <a:pt x="202" y="353370"/>
                      <a:pt x="-1499" y="389504"/>
                      <a:pt x="4964" y="402431"/>
                    </a:cubicBezTo>
                    <a:cubicBezTo>
                      <a:pt x="6244" y="404991"/>
                      <a:pt x="7895" y="407376"/>
                      <a:pt x="9727" y="409575"/>
                    </a:cubicBezTo>
                    <a:cubicBezTo>
                      <a:pt x="11883" y="412162"/>
                      <a:pt x="14284" y="414562"/>
                      <a:pt x="16871" y="416718"/>
                    </a:cubicBezTo>
                    <a:cubicBezTo>
                      <a:pt x="19069" y="418550"/>
                      <a:pt x="21633" y="419893"/>
                      <a:pt x="24014" y="421481"/>
                    </a:cubicBezTo>
                    <a:cubicBezTo>
                      <a:pt x="25602" y="423862"/>
                      <a:pt x="26542" y="426837"/>
                      <a:pt x="28777" y="428625"/>
                    </a:cubicBezTo>
                    <a:cubicBezTo>
                      <a:pt x="30737" y="430193"/>
                      <a:pt x="33676" y="429884"/>
                      <a:pt x="35921" y="431006"/>
                    </a:cubicBezTo>
                    <a:cubicBezTo>
                      <a:pt x="38481" y="432286"/>
                      <a:pt x="40505" y="434488"/>
                      <a:pt x="43064" y="435768"/>
                    </a:cubicBezTo>
                    <a:cubicBezTo>
                      <a:pt x="45309" y="436891"/>
                      <a:pt x="47963" y="437027"/>
                      <a:pt x="50208" y="438150"/>
                    </a:cubicBezTo>
                    <a:cubicBezTo>
                      <a:pt x="52768" y="439430"/>
                      <a:pt x="54591" y="442159"/>
                      <a:pt x="57352" y="442912"/>
                    </a:cubicBezTo>
                    <a:cubicBezTo>
                      <a:pt x="63526" y="444596"/>
                      <a:pt x="70052" y="444499"/>
                      <a:pt x="76402" y="445293"/>
                    </a:cubicBezTo>
                    <a:lnTo>
                      <a:pt x="90689" y="450056"/>
                    </a:lnTo>
                    <a:cubicBezTo>
                      <a:pt x="93070" y="450850"/>
                      <a:pt x="95588" y="451314"/>
                      <a:pt x="97833" y="452437"/>
                    </a:cubicBezTo>
                    <a:cubicBezTo>
                      <a:pt x="101008" y="454025"/>
                      <a:pt x="104034" y="455954"/>
                      <a:pt x="107358" y="457200"/>
                    </a:cubicBezTo>
                    <a:cubicBezTo>
                      <a:pt x="121027" y="462326"/>
                      <a:pt x="114893" y="456203"/>
                      <a:pt x="131171" y="464343"/>
                    </a:cubicBezTo>
                    <a:cubicBezTo>
                      <a:pt x="144316" y="470916"/>
                      <a:pt x="137215" y="468410"/>
                      <a:pt x="152602" y="471487"/>
                    </a:cubicBezTo>
                    <a:cubicBezTo>
                      <a:pt x="173897" y="482135"/>
                      <a:pt x="164917" y="478767"/>
                      <a:pt x="178796" y="483393"/>
                    </a:cubicBezTo>
                    <a:cubicBezTo>
                      <a:pt x="181177" y="484981"/>
                      <a:pt x="183379" y="486876"/>
                      <a:pt x="185939" y="488156"/>
                    </a:cubicBezTo>
                    <a:cubicBezTo>
                      <a:pt x="189762" y="490068"/>
                      <a:pt x="193829" y="491457"/>
                      <a:pt x="197846" y="492918"/>
                    </a:cubicBezTo>
                    <a:cubicBezTo>
                      <a:pt x="210609" y="497559"/>
                      <a:pt x="210281" y="497218"/>
                      <a:pt x="221658" y="500062"/>
                    </a:cubicBezTo>
                    <a:cubicBezTo>
                      <a:pt x="224039" y="502443"/>
                      <a:pt x="225790" y="505700"/>
                      <a:pt x="228802" y="507206"/>
                    </a:cubicBezTo>
                    <a:cubicBezTo>
                      <a:pt x="232422" y="509016"/>
                      <a:pt x="236782" y="508605"/>
                      <a:pt x="240708" y="509587"/>
                    </a:cubicBezTo>
                    <a:cubicBezTo>
                      <a:pt x="243143" y="510196"/>
                      <a:pt x="245438" y="511278"/>
                      <a:pt x="247852" y="511968"/>
                    </a:cubicBezTo>
                    <a:cubicBezTo>
                      <a:pt x="268783" y="517949"/>
                      <a:pt x="247392" y="511022"/>
                      <a:pt x="264521" y="516731"/>
                    </a:cubicBezTo>
                    <a:cubicBezTo>
                      <a:pt x="283571" y="515937"/>
                      <a:pt x="302864" y="517484"/>
                      <a:pt x="321671" y="514350"/>
                    </a:cubicBezTo>
                    <a:cubicBezTo>
                      <a:pt x="327317" y="513409"/>
                      <a:pt x="330405" y="506214"/>
                      <a:pt x="335958" y="504825"/>
                    </a:cubicBezTo>
                    <a:cubicBezTo>
                      <a:pt x="339005" y="504063"/>
                      <a:pt x="349214" y="501768"/>
                      <a:pt x="352627" y="500062"/>
                    </a:cubicBezTo>
                    <a:cubicBezTo>
                      <a:pt x="355187" y="498782"/>
                      <a:pt x="357286" y="496720"/>
                      <a:pt x="359771" y="495300"/>
                    </a:cubicBezTo>
                    <a:cubicBezTo>
                      <a:pt x="362853" y="493539"/>
                      <a:pt x="366121" y="492125"/>
                      <a:pt x="369296" y="490537"/>
                    </a:cubicBezTo>
                    <a:cubicBezTo>
                      <a:pt x="370883" y="488156"/>
                      <a:pt x="372034" y="485417"/>
                      <a:pt x="374058" y="483393"/>
                    </a:cubicBezTo>
                    <a:cubicBezTo>
                      <a:pt x="378673" y="478778"/>
                      <a:pt x="382537" y="478186"/>
                      <a:pt x="388346" y="476250"/>
                    </a:cubicBezTo>
                    <a:cubicBezTo>
                      <a:pt x="390727" y="473075"/>
                      <a:pt x="392683" y="469531"/>
                      <a:pt x="395489" y="466725"/>
                    </a:cubicBezTo>
                    <a:cubicBezTo>
                      <a:pt x="397513" y="464701"/>
                      <a:pt x="400609" y="463986"/>
                      <a:pt x="402633" y="461962"/>
                    </a:cubicBezTo>
                    <a:cubicBezTo>
                      <a:pt x="413404" y="451191"/>
                      <a:pt x="400633" y="457072"/>
                      <a:pt x="414539" y="452437"/>
                    </a:cubicBezTo>
                    <a:cubicBezTo>
                      <a:pt x="419765" y="431538"/>
                      <a:pt x="412318" y="452245"/>
                      <a:pt x="424064" y="438150"/>
                    </a:cubicBezTo>
                    <a:cubicBezTo>
                      <a:pt x="442224" y="416359"/>
                      <a:pt x="412994" y="440500"/>
                      <a:pt x="438352" y="421481"/>
                    </a:cubicBezTo>
                    <a:cubicBezTo>
                      <a:pt x="443980" y="398969"/>
                      <a:pt x="435099" y="427551"/>
                      <a:pt x="455021" y="397668"/>
                    </a:cubicBezTo>
                    <a:cubicBezTo>
                      <a:pt x="465545" y="381882"/>
                      <a:pt x="453177" y="399423"/>
                      <a:pt x="466927" y="383381"/>
                    </a:cubicBezTo>
                    <a:cubicBezTo>
                      <a:pt x="469510" y="380368"/>
                      <a:pt x="471764" y="377086"/>
                      <a:pt x="474071" y="373856"/>
                    </a:cubicBezTo>
                    <a:cubicBezTo>
                      <a:pt x="475734" y="371527"/>
                      <a:pt x="476634" y="368544"/>
                      <a:pt x="478833" y="366712"/>
                    </a:cubicBezTo>
                    <a:cubicBezTo>
                      <a:pt x="481560" y="364440"/>
                      <a:pt x="485183" y="363537"/>
                      <a:pt x="488358" y="361950"/>
                    </a:cubicBezTo>
                    <a:cubicBezTo>
                      <a:pt x="497397" y="348393"/>
                      <a:pt x="487877" y="359503"/>
                      <a:pt x="500264" y="352425"/>
                    </a:cubicBezTo>
                    <a:cubicBezTo>
                      <a:pt x="507808" y="348114"/>
                      <a:pt x="509567" y="344201"/>
                      <a:pt x="516933" y="340518"/>
                    </a:cubicBezTo>
                    <a:cubicBezTo>
                      <a:pt x="519178" y="339395"/>
                      <a:pt x="521792" y="339176"/>
                      <a:pt x="524077" y="338137"/>
                    </a:cubicBezTo>
                    <a:cubicBezTo>
                      <a:pt x="564053" y="319967"/>
                      <a:pt x="527943" y="333644"/>
                      <a:pt x="552652" y="326231"/>
                    </a:cubicBezTo>
                    <a:cubicBezTo>
                      <a:pt x="557460" y="324788"/>
                      <a:pt x="561987" y="322293"/>
                      <a:pt x="566939" y="321468"/>
                    </a:cubicBezTo>
                    <a:cubicBezTo>
                      <a:pt x="578925" y="319471"/>
                      <a:pt x="588415" y="318279"/>
                      <a:pt x="600277" y="314325"/>
                    </a:cubicBezTo>
                    <a:cubicBezTo>
                      <a:pt x="605039" y="312737"/>
                      <a:pt x="609641" y="310546"/>
                      <a:pt x="614564" y="309562"/>
                    </a:cubicBezTo>
                    <a:cubicBezTo>
                      <a:pt x="638755" y="304725"/>
                      <a:pt x="616540" y="309679"/>
                      <a:pt x="633614" y="304800"/>
                    </a:cubicBezTo>
                    <a:cubicBezTo>
                      <a:pt x="636761" y="303901"/>
                      <a:pt x="640075" y="303567"/>
                      <a:pt x="643139" y="302418"/>
                    </a:cubicBezTo>
                    <a:cubicBezTo>
                      <a:pt x="663464" y="294796"/>
                      <a:pt x="643247" y="300007"/>
                      <a:pt x="659808" y="295275"/>
                    </a:cubicBezTo>
                    <a:cubicBezTo>
                      <a:pt x="663363" y="294259"/>
                      <a:pt x="672675" y="292413"/>
                      <a:pt x="676477" y="290512"/>
                    </a:cubicBezTo>
                    <a:cubicBezTo>
                      <a:pt x="679037" y="289232"/>
                      <a:pt x="680991" y="286877"/>
                      <a:pt x="683621" y="285750"/>
                    </a:cubicBezTo>
                    <a:cubicBezTo>
                      <a:pt x="707514" y="275510"/>
                      <a:pt x="675473" y="294588"/>
                      <a:pt x="707433" y="278606"/>
                    </a:cubicBezTo>
                    <a:cubicBezTo>
                      <a:pt x="710608" y="277018"/>
                      <a:pt x="713590" y="274966"/>
                      <a:pt x="716958" y="273843"/>
                    </a:cubicBezTo>
                    <a:cubicBezTo>
                      <a:pt x="720798" y="272563"/>
                      <a:pt x="724920" y="272372"/>
                      <a:pt x="728864" y="271462"/>
                    </a:cubicBezTo>
                    <a:cubicBezTo>
                      <a:pt x="735242" y="269990"/>
                      <a:pt x="741564" y="268288"/>
                      <a:pt x="747914" y="266700"/>
                    </a:cubicBezTo>
                    <a:cubicBezTo>
                      <a:pt x="751089" y="265906"/>
                      <a:pt x="754211" y="264856"/>
                      <a:pt x="757439" y="264318"/>
                    </a:cubicBezTo>
                    <a:cubicBezTo>
                      <a:pt x="762202" y="263524"/>
                      <a:pt x="766992" y="262884"/>
                      <a:pt x="771727" y="261937"/>
                    </a:cubicBezTo>
                    <a:cubicBezTo>
                      <a:pt x="774936" y="261295"/>
                      <a:pt x="778043" y="260198"/>
                      <a:pt x="781252" y="259556"/>
                    </a:cubicBezTo>
                    <a:cubicBezTo>
                      <a:pt x="787861" y="258234"/>
                      <a:pt x="806122" y="255554"/>
                      <a:pt x="812208" y="254793"/>
                    </a:cubicBezTo>
                    <a:cubicBezTo>
                      <a:pt x="819340" y="253901"/>
                      <a:pt x="826514" y="253362"/>
                      <a:pt x="833639" y="252412"/>
                    </a:cubicBezTo>
                    <a:cubicBezTo>
                      <a:pt x="838425" y="251774"/>
                      <a:pt x="843125" y="250536"/>
                      <a:pt x="847927" y="250031"/>
                    </a:cubicBezTo>
                    <a:cubicBezTo>
                      <a:pt x="858219" y="248948"/>
                      <a:pt x="868564" y="248444"/>
                      <a:pt x="878883" y="247650"/>
                    </a:cubicBezTo>
                    <a:cubicBezTo>
                      <a:pt x="891811" y="243340"/>
                      <a:pt x="892376" y="242545"/>
                      <a:pt x="912221" y="242887"/>
                    </a:cubicBezTo>
                    <a:cubicBezTo>
                      <a:pt x="949555" y="243531"/>
                      <a:pt x="1024139" y="247650"/>
                      <a:pt x="1024139" y="247650"/>
                    </a:cubicBezTo>
                    <a:cubicBezTo>
                      <a:pt x="1070120" y="256845"/>
                      <a:pt x="1033566" y="250436"/>
                      <a:pt x="1140821" y="247650"/>
                    </a:cubicBezTo>
                    <a:lnTo>
                      <a:pt x="1219402" y="245268"/>
                    </a:lnTo>
                    <a:lnTo>
                      <a:pt x="1333702" y="240506"/>
                    </a:lnTo>
                    <a:cubicBezTo>
                      <a:pt x="1360838" y="233723"/>
                      <a:pt x="1317682" y="244105"/>
                      <a:pt x="1362277" y="235743"/>
                    </a:cubicBezTo>
                    <a:cubicBezTo>
                      <a:pt x="1375957" y="233178"/>
                      <a:pt x="1382971" y="230433"/>
                      <a:pt x="1395614" y="226218"/>
                    </a:cubicBezTo>
                    <a:lnTo>
                      <a:pt x="1409902" y="221456"/>
                    </a:lnTo>
                    <a:lnTo>
                      <a:pt x="1417046" y="219075"/>
                    </a:lnTo>
                    <a:cubicBezTo>
                      <a:pt x="1421530" y="214590"/>
                      <a:pt x="1426301" y="210753"/>
                      <a:pt x="1428952" y="204787"/>
                    </a:cubicBezTo>
                    <a:cubicBezTo>
                      <a:pt x="1430991" y="200200"/>
                      <a:pt x="1432127" y="195262"/>
                      <a:pt x="1433714" y="190500"/>
                    </a:cubicBezTo>
                    <a:lnTo>
                      <a:pt x="1436096" y="183356"/>
                    </a:lnTo>
                    <a:cubicBezTo>
                      <a:pt x="1435302" y="171450"/>
                      <a:pt x="1435402" y="159450"/>
                      <a:pt x="1433714" y="147637"/>
                    </a:cubicBezTo>
                    <a:cubicBezTo>
                      <a:pt x="1433004" y="142668"/>
                      <a:pt x="1429936" y="138272"/>
                      <a:pt x="1428952" y="133350"/>
                    </a:cubicBezTo>
                    <a:cubicBezTo>
                      <a:pt x="1425586" y="116517"/>
                      <a:pt x="1427852" y="125287"/>
                      <a:pt x="1421808" y="107156"/>
                    </a:cubicBezTo>
                    <a:cubicBezTo>
                      <a:pt x="1421014" y="104775"/>
                      <a:pt x="1420819" y="102100"/>
                      <a:pt x="1419427" y="100012"/>
                    </a:cubicBezTo>
                    <a:lnTo>
                      <a:pt x="1414664" y="92868"/>
                    </a:lnTo>
                    <a:cubicBezTo>
                      <a:pt x="1412278" y="85710"/>
                      <a:pt x="1412649" y="84735"/>
                      <a:pt x="1407521" y="78581"/>
                    </a:cubicBezTo>
                    <a:cubicBezTo>
                      <a:pt x="1405365" y="75994"/>
                      <a:pt x="1402533" y="74024"/>
                      <a:pt x="1400377" y="71437"/>
                    </a:cubicBezTo>
                    <a:cubicBezTo>
                      <a:pt x="1398545" y="69238"/>
                      <a:pt x="1397638" y="66317"/>
                      <a:pt x="1395614" y="64293"/>
                    </a:cubicBezTo>
                    <a:cubicBezTo>
                      <a:pt x="1393591" y="62270"/>
                      <a:pt x="1390644" y="61393"/>
                      <a:pt x="1388471" y="59531"/>
                    </a:cubicBezTo>
                    <a:cubicBezTo>
                      <a:pt x="1385062" y="56609"/>
                      <a:pt x="1382538" y="52700"/>
                      <a:pt x="1378946" y="50006"/>
                    </a:cubicBezTo>
                    <a:cubicBezTo>
                      <a:pt x="1376106" y="47876"/>
                      <a:pt x="1372503" y="47004"/>
                      <a:pt x="1369421" y="45243"/>
                    </a:cubicBezTo>
                    <a:cubicBezTo>
                      <a:pt x="1352779" y="35733"/>
                      <a:pt x="1373808" y="45094"/>
                      <a:pt x="1350371" y="35718"/>
                    </a:cubicBezTo>
                    <a:cubicBezTo>
                      <a:pt x="1338371" y="23719"/>
                      <a:pt x="1348718" y="31937"/>
                      <a:pt x="1336083" y="26193"/>
                    </a:cubicBezTo>
                    <a:cubicBezTo>
                      <a:pt x="1329620" y="23255"/>
                      <a:pt x="1323995" y="18060"/>
                      <a:pt x="1317033" y="16668"/>
                    </a:cubicBezTo>
                    <a:cubicBezTo>
                      <a:pt x="1309096" y="15081"/>
                      <a:pt x="1300900" y="14466"/>
                      <a:pt x="1293221" y="11906"/>
                    </a:cubicBezTo>
                    <a:cubicBezTo>
                      <a:pt x="1288458" y="10318"/>
                      <a:pt x="1283903" y="7853"/>
                      <a:pt x="1278933" y="7143"/>
                    </a:cubicBezTo>
                    <a:lnTo>
                      <a:pt x="1262264" y="4762"/>
                    </a:lnTo>
                    <a:cubicBezTo>
                      <a:pt x="1257492" y="4028"/>
                      <a:pt x="1252772" y="2945"/>
                      <a:pt x="1247977" y="2381"/>
                    </a:cubicBezTo>
                    <a:cubicBezTo>
                      <a:pt x="1239270" y="1357"/>
                      <a:pt x="1230514" y="794"/>
                      <a:pt x="1221783" y="0"/>
                    </a:cubicBezTo>
                    <a:cubicBezTo>
                      <a:pt x="870277" y="6892"/>
                      <a:pt x="1309180" y="0"/>
                      <a:pt x="995564" y="0"/>
                    </a:cubicBezTo>
                    <a:cubicBezTo>
                      <a:pt x="983371" y="0"/>
                      <a:pt x="902082" y="3998"/>
                      <a:pt x="886027" y="4762"/>
                    </a:cubicBezTo>
                    <a:cubicBezTo>
                      <a:pt x="838925" y="11490"/>
                      <a:pt x="892792" y="4432"/>
                      <a:pt x="788396" y="9525"/>
                    </a:cubicBezTo>
                    <a:cubicBezTo>
                      <a:pt x="782790" y="9798"/>
                      <a:pt x="777296" y="11210"/>
                      <a:pt x="771727" y="11906"/>
                    </a:cubicBezTo>
                    <a:cubicBezTo>
                      <a:pt x="764595" y="12797"/>
                      <a:pt x="757440" y="13493"/>
                      <a:pt x="750296" y="14287"/>
                    </a:cubicBezTo>
                    <a:cubicBezTo>
                      <a:pt x="747121" y="15081"/>
                      <a:pt x="743980" y="16026"/>
                      <a:pt x="740771" y="16668"/>
                    </a:cubicBezTo>
                    <a:cubicBezTo>
                      <a:pt x="732494" y="18324"/>
                      <a:pt x="717840" y="20285"/>
                      <a:pt x="709814" y="21431"/>
                    </a:cubicBezTo>
                    <a:cubicBezTo>
                      <a:pt x="705052" y="23018"/>
                      <a:pt x="700335" y="24750"/>
                      <a:pt x="695527" y="26193"/>
                    </a:cubicBezTo>
                    <a:cubicBezTo>
                      <a:pt x="692392" y="27133"/>
                      <a:pt x="689107" y="27540"/>
                      <a:pt x="686002" y="28575"/>
                    </a:cubicBezTo>
                    <a:cubicBezTo>
                      <a:pt x="678386" y="31114"/>
                      <a:pt x="661442" y="38286"/>
                      <a:pt x="652664" y="40481"/>
                    </a:cubicBezTo>
                    <a:cubicBezTo>
                      <a:pt x="647980" y="41652"/>
                      <a:pt x="643127" y="41998"/>
                      <a:pt x="638377" y="42862"/>
                    </a:cubicBezTo>
                    <a:cubicBezTo>
                      <a:pt x="634395" y="43586"/>
                      <a:pt x="630440" y="44449"/>
                      <a:pt x="626471" y="45243"/>
                    </a:cubicBezTo>
                    <a:cubicBezTo>
                      <a:pt x="588232" y="60539"/>
                      <a:pt x="643457" y="39432"/>
                      <a:pt x="600277" y="52387"/>
                    </a:cubicBezTo>
                    <a:cubicBezTo>
                      <a:pt x="596877" y="53407"/>
                      <a:pt x="593996" y="55708"/>
                      <a:pt x="590752" y="57150"/>
                    </a:cubicBezTo>
                    <a:cubicBezTo>
                      <a:pt x="586846" y="58886"/>
                      <a:pt x="582863" y="60451"/>
                      <a:pt x="578846" y="61912"/>
                    </a:cubicBezTo>
                    <a:cubicBezTo>
                      <a:pt x="574128" y="63628"/>
                      <a:pt x="569321" y="65087"/>
                      <a:pt x="564558" y="66675"/>
                    </a:cubicBezTo>
                    <a:lnTo>
                      <a:pt x="557414" y="69056"/>
                    </a:lnTo>
                    <a:cubicBezTo>
                      <a:pt x="555033" y="70643"/>
                      <a:pt x="552830" y="72538"/>
                      <a:pt x="550271" y="73818"/>
                    </a:cubicBezTo>
                    <a:cubicBezTo>
                      <a:pt x="548026" y="74941"/>
                      <a:pt x="545562" y="75591"/>
                      <a:pt x="543127" y="76200"/>
                    </a:cubicBezTo>
                    <a:cubicBezTo>
                      <a:pt x="525825" y="80526"/>
                      <a:pt x="536002" y="76725"/>
                      <a:pt x="516933" y="80962"/>
                    </a:cubicBezTo>
                    <a:cubicBezTo>
                      <a:pt x="514483" y="81506"/>
                      <a:pt x="512203" y="82653"/>
                      <a:pt x="509789" y="83343"/>
                    </a:cubicBezTo>
                    <a:cubicBezTo>
                      <a:pt x="499613" y="86251"/>
                      <a:pt x="499423" y="85647"/>
                      <a:pt x="488358" y="88106"/>
                    </a:cubicBezTo>
                    <a:cubicBezTo>
                      <a:pt x="485163" y="88816"/>
                      <a:pt x="481968" y="89547"/>
                      <a:pt x="478833" y="90487"/>
                    </a:cubicBezTo>
                    <a:cubicBezTo>
                      <a:pt x="474025" y="91930"/>
                      <a:pt x="469469" y="94266"/>
                      <a:pt x="464546" y="95250"/>
                    </a:cubicBezTo>
                    <a:lnTo>
                      <a:pt x="452639" y="97631"/>
                    </a:lnTo>
                    <a:cubicBezTo>
                      <a:pt x="447889" y="98495"/>
                      <a:pt x="443036" y="98841"/>
                      <a:pt x="438352" y="100012"/>
                    </a:cubicBezTo>
                    <a:cubicBezTo>
                      <a:pt x="427859" y="102635"/>
                      <a:pt x="418133" y="107748"/>
                      <a:pt x="407396" y="109537"/>
                    </a:cubicBezTo>
                    <a:cubicBezTo>
                      <a:pt x="401084" y="110589"/>
                      <a:pt x="394696" y="111124"/>
                      <a:pt x="388346" y="111918"/>
                    </a:cubicBezTo>
                    <a:cubicBezTo>
                      <a:pt x="385171" y="112712"/>
                      <a:pt x="381968" y="113401"/>
                      <a:pt x="378821" y="114300"/>
                    </a:cubicBezTo>
                    <a:cubicBezTo>
                      <a:pt x="376407" y="114990"/>
                      <a:pt x="374127" y="116137"/>
                      <a:pt x="371677" y="116681"/>
                    </a:cubicBezTo>
                    <a:cubicBezTo>
                      <a:pt x="361313" y="118984"/>
                      <a:pt x="351173" y="119542"/>
                      <a:pt x="340721" y="121443"/>
                    </a:cubicBezTo>
                    <a:cubicBezTo>
                      <a:pt x="337501" y="122029"/>
                      <a:pt x="334391" y="123115"/>
                      <a:pt x="331196" y="123825"/>
                    </a:cubicBezTo>
                    <a:cubicBezTo>
                      <a:pt x="327245" y="124703"/>
                      <a:pt x="323216" y="125224"/>
                      <a:pt x="319289" y="126206"/>
                    </a:cubicBezTo>
                    <a:cubicBezTo>
                      <a:pt x="316854" y="126815"/>
                      <a:pt x="314567" y="127927"/>
                      <a:pt x="312146" y="128587"/>
                    </a:cubicBezTo>
                    <a:cubicBezTo>
                      <a:pt x="305831" y="130309"/>
                      <a:pt x="299306" y="131280"/>
                      <a:pt x="293096" y="133350"/>
                    </a:cubicBezTo>
                    <a:lnTo>
                      <a:pt x="278808" y="138112"/>
                    </a:lnTo>
                    <a:cubicBezTo>
                      <a:pt x="276427" y="139700"/>
                      <a:pt x="273803" y="140974"/>
                      <a:pt x="271664" y="142875"/>
                    </a:cubicBezTo>
                    <a:cubicBezTo>
                      <a:pt x="266630" y="147349"/>
                      <a:pt x="262981" y="153426"/>
                      <a:pt x="257377" y="157162"/>
                    </a:cubicBezTo>
                    <a:lnTo>
                      <a:pt x="235946" y="171450"/>
                    </a:lnTo>
                    <a:lnTo>
                      <a:pt x="228802" y="176212"/>
                    </a:lnTo>
                    <a:cubicBezTo>
                      <a:pt x="226421" y="177800"/>
                      <a:pt x="224373" y="180070"/>
                      <a:pt x="221658" y="180975"/>
                    </a:cubicBezTo>
                    <a:lnTo>
                      <a:pt x="214514" y="183356"/>
                    </a:lnTo>
                    <a:cubicBezTo>
                      <a:pt x="212133" y="184943"/>
                      <a:pt x="209930" y="186838"/>
                      <a:pt x="207371" y="188118"/>
                    </a:cubicBezTo>
                    <a:cubicBezTo>
                      <a:pt x="203365" y="190121"/>
                      <a:pt x="194524" y="191735"/>
                      <a:pt x="190702" y="192881"/>
                    </a:cubicBezTo>
                    <a:cubicBezTo>
                      <a:pt x="185893" y="194323"/>
                      <a:pt x="176414" y="197643"/>
                      <a:pt x="176414" y="197643"/>
                    </a:cubicBezTo>
                    <a:cubicBezTo>
                      <a:pt x="165093" y="205192"/>
                      <a:pt x="171988" y="201500"/>
                      <a:pt x="154983" y="207168"/>
                    </a:cubicBezTo>
                    <a:lnTo>
                      <a:pt x="147839" y="209550"/>
                    </a:lnTo>
                    <a:cubicBezTo>
                      <a:pt x="145458" y="210344"/>
                      <a:pt x="142784" y="210539"/>
                      <a:pt x="140696" y="211931"/>
                    </a:cubicBezTo>
                    <a:cubicBezTo>
                      <a:pt x="124319" y="222848"/>
                      <a:pt x="131838" y="219646"/>
                      <a:pt x="119264" y="223837"/>
                    </a:cubicBezTo>
                    <a:cubicBezTo>
                      <a:pt x="116783" y="231282"/>
                      <a:pt x="114377" y="240588"/>
                      <a:pt x="107358" y="245268"/>
                    </a:cubicBezTo>
                    <a:cubicBezTo>
                      <a:pt x="99280" y="250654"/>
                      <a:pt x="91483" y="271065"/>
                      <a:pt x="88308" y="2762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K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68B95102-589B-4B12-8728-4FED65BC626E}"/>
                  </a:ext>
                </a:extLst>
              </p:cNvPr>
              <p:cNvSpPr/>
              <p:nvPr/>
            </p:nvSpPr>
            <p:spPr>
              <a:xfrm>
                <a:off x="5484019" y="2290763"/>
                <a:ext cx="178594" cy="350043"/>
              </a:xfrm>
              <a:custGeom>
                <a:avLst/>
                <a:gdLst>
                  <a:gd name="connsiteX0" fmla="*/ 133350 w 178594"/>
                  <a:gd name="connsiteY0" fmla="*/ 0 h 350043"/>
                  <a:gd name="connsiteX1" fmla="*/ 133350 w 178594"/>
                  <a:gd name="connsiteY1" fmla="*/ 0 h 350043"/>
                  <a:gd name="connsiteX2" fmla="*/ 76200 w 178594"/>
                  <a:gd name="connsiteY2" fmla="*/ 85725 h 350043"/>
                  <a:gd name="connsiteX3" fmla="*/ 69056 w 178594"/>
                  <a:gd name="connsiteY3" fmla="*/ 92868 h 350043"/>
                  <a:gd name="connsiteX4" fmla="*/ 64294 w 178594"/>
                  <a:gd name="connsiteY4" fmla="*/ 107156 h 350043"/>
                  <a:gd name="connsiteX5" fmla="*/ 61912 w 178594"/>
                  <a:gd name="connsiteY5" fmla="*/ 145256 h 350043"/>
                  <a:gd name="connsiteX6" fmla="*/ 59531 w 178594"/>
                  <a:gd name="connsiteY6" fmla="*/ 178593 h 350043"/>
                  <a:gd name="connsiteX7" fmla="*/ 57150 w 178594"/>
                  <a:gd name="connsiteY7" fmla="*/ 185737 h 350043"/>
                  <a:gd name="connsiteX8" fmla="*/ 50006 w 178594"/>
                  <a:gd name="connsiteY8" fmla="*/ 209550 h 350043"/>
                  <a:gd name="connsiteX9" fmla="*/ 47625 w 178594"/>
                  <a:gd name="connsiteY9" fmla="*/ 216693 h 350043"/>
                  <a:gd name="connsiteX10" fmla="*/ 45244 w 178594"/>
                  <a:gd name="connsiteY10" fmla="*/ 223837 h 350043"/>
                  <a:gd name="connsiteX11" fmla="*/ 38100 w 178594"/>
                  <a:gd name="connsiteY11" fmla="*/ 228600 h 350043"/>
                  <a:gd name="connsiteX12" fmla="*/ 33337 w 178594"/>
                  <a:gd name="connsiteY12" fmla="*/ 245268 h 350043"/>
                  <a:gd name="connsiteX13" fmla="*/ 26194 w 178594"/>
                  <a:gd name="connsiteY13" fmla="*/ 252412 h 350043"/>
                  <a:gd name="connsiteX14" fmla="*/ 19050 w 178594"/>
                  <a:gd name="connsiteY14" fmla="*/ 266700 h 350043"/>
                  <a:gd name="connsiteX15" fmla="*/ 11906 w 178594"/>
                  <a:gd name="connsiteY15" fmla="*/ 280987 h 350043"/>
                  <a:gd name="connsiteX16" fmla="*/ 4762 w 178594"/>
                  <a:gd name="connsiteY16" fmla="*/ 295275 h 350043"/>
                  <a:gd name="connsiteX17" fmla="*/ 0 w 178594"/>
                  <a:gd name="connsiteY17" fmla="*/ 311943 h 350043"/>
                  <a:gd name="connsiteX18" fmla="*/ 2381 w 178594"/>
                  <a:gd name="connsiteY18" fmla="*/ 335756 h 350043"/>
                  <a:gd name="connsiteX19" fmla="*/ 16669 w 178594"/>
                  <a:gd name="connsiteY19" fmla="*/ 342900 h 350043"/>
                  <a:gd name="connsiteX20" fmla="*/ 45244 w 178594"/>
                  <a:gd name="connsiteY20" fmla="*/ 347662 h 350043"/>
                  <a:gd name="connsiteX21" fmla="*/ 57150 w 178594"/>
                  <a:gd name="connsiteY21" fmla="*/ 350043 h 350043"/>
                  <a:gd name="connsiteX22" fmla="*/ 109537 w 178594"/>
                  <a:gd name="connsiteY22" fmla="*/ 347662 h 350043"/>
                  <a:gd name="connsiteX23" fmla="*/ 119062 w 178594"/>
                  <a:gd name="connsiteY23" fmla="*/ 345281 h 350043"/>
                  <a:gd name="connsiteX24" fmla="*/ 138112 w 178594"/>
                  <a:gd name="connsiteY24" fmla="*/ 335756 h 350043"/>
                  <a:gd name="connsiteX25" fmla="*/ 152400 w 178594"/>
                  <a:gd name="connsiteY25" fmla="*/ 326231 h 350043"/>
                  <a:gd name="connsiteX26" fmla="*/ 161925 w 178594"/>
                  <a:gd name="connsiteY26" fmla="*/ 311943 h 350043"/>
                  <a:gd name="connsiteX27" fmla="*/ 166687 w 178594"/>
                  <a:gd name="connsiteY27" fmla="*/ 304800 h 350043"/>
                  <a:gd name="connsiteX28" fmla="*/ 171450 w 178594"/>
                  <a:gd name="connsiteY28" fmla="*/ 285750 h 350043"/>
                  <a:gd name="connsiteX29" fmla="*/ 173831 w 178594"/>
                  <a:gd name="connsiteY29" fmla="*/ 278606 h 350043"/>
                  <a:gd name="connsiteX30" fmla="*/ 178594 w 178594"/>
                  <a:gd name="connsiteY30" fmla="*/ 254793 h 350043"/>
                  <a:gd name="connsiteX31" fmla="*/ 176212 w 178594"/>
                  <a:gd name="connsiteY31" fmla="*/ 40481 h 350043"/>
                  <a:gd name="connsiteX32" fmla="*/ 133350 w 178594"/>
                  <a:gd name="connsiteY32" fmla="*/ 0 h 35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78594" h="350043">
                    <a:moveTo>
                      <a:pt x="133350" y="0"/>
                    </a:moveTo>
                    <a:lnTo>
                      <a:pt x="133350" y="0"/>
                    </a:lnTo>
                    <a:cubicBezTo>
                      <a:pt x="114300" y="28575"/>
                      <a:pt x="95748" y="57489"/>
                      <a:pt x="76200" y="85725"/>
                    </a:cubicBezTo>
                    <a:cubicBezTo>
                      <a:pt x="74283" y="88494"/>
                      <a:pt x="70691" y="89924"/>
                      <a:pt x="69056" y="92868"/>
                    </a:cubicBezTo>
                    <a:cubicBezTo>
                      <a:pt x="66618" y="97256"/>
                      <a:pt x="64294" y="107156"/>
                      <a:pt x="64294" y="107156"/>
                    </a:cubicBezTo>
                    <a:cubicBezTo>
                      <a:pt x="63500" y="119856"/>
                      <a:pt x="62759" y="132559"/>
                      <a:pt x="61912" y="145256"/>
                    </a:cubicBezTo>
                    <a:cubicBezTo>
                      <a:pt x="61171" y="156372"/>
                      <a:pt x="60833" y="167529"/>
                      <a:pt x="59531" y="178593"/>
                    </a:cubicBezTo>
                    <a:cubicBezTo>
                      <a:pt x="59238" y="181086"/>
                      <a:pt x="57840" y="183323"/>
                      <a:pt x="57150" y="185737"/>
                    </a:cubicBezTo>
                    <a:cubicBezTo>
                      <a:pt x="49957" y="210917"/>
                      <a:pt x="61319" y="175613"/>
                      <a:pt x="50006" y="209550"/>
                    </a:cubicBezTo>
                    <a:lnTo>
                      <a:pt x="47625" y="216693"/>
                    </a:lnTo>
                    <a:cubicBezTo>
                      <a:pt x="46831" y="219074"/>
                      <a:pt x="47332" y="222445"/>
                      <a:pt x="45244" y="223837"/>
                    </a:cubicBezTo>
                    <a:lnTo>
                      <a:pt x="38100" y="228600"/>
                    </a:lnTo>
                    <a:cubicBezTo>
                      <a:pt x="37781" y="229875"/>
                      <a:pt x="34706" y="243215"/>
                      <a:pt x="33337" y="245268"/>
                    </a:cubicBezTo>
                    <a:cubicBezTo>
                      <a:pt x="31469" y="248070"/>
                      <a:pt x="28575" y="250031"/>
                      <a:pt x="26194" y="252412"/>
                    </a:cubicBezTo>
                    <a:cubicBezTo>
                      <a:pt x="20205" y="270373"/>
                      <a:pt x="28284" y="248231"/>
                      <a:pt x="19050" y="266700"/>
                    </a:cubicBezTo>
                    <a:cubicBezTo>
                      <a:pt x="9196" y="286409"/>
                      <a:pt x="25551" y="260521"/>
                      <a:pt x="11906" y="280987"/>
                    </a:cubicBezTo>
                    <a:cubicBezTo>
                      <a:pt x="5923" y="298940"/>
                      <a:pt x="13993" y="276814"/>
                      <a:pt x="4762" y="295275"/>
                    </a:cubicBezTo>
                    <a:cubicBezTo>
                      <a:pt x="3054" y="298691"/>
                      <a:pt x="763" y="308891"/>
                      <a:pt x="0" y="311943"/>
                    </a:cubicBezTo>
                    <a:cubicBezTo>
                      <a:pt x="794" y="319881"/>
                      <a:pt x="-142" y="328188"/>
                      <a:pt x="2381" y="335756"/>
                    </a:cubicBezTo>
                    <a:cubicBezTo>
                      <a:pt x="3384" y="338765"/>
                      <a:pt x="14029" y="342372"/>
                      <a:pt x="16669" y="342900"/>
                    </a:cubicBezTo>
                    <a:cubicBezTo>
                      <a:pt x="26138" y="344794"/>
                      <a:pt x="35775" y="345768"/>
                      <a:pt x="45244" y="347662"/>
                    </a:cubicBezTo>
                    <a:lnTo>
                      <a:pt x="57150" y="350043"/>
                    </a:lnTo>
                    <a:cubicBezTo>
                      <a:pt x="74612" y="349249"/>
                      <a:pt x="92108" y="349003"/>
                      <a:pt x="109537" y="347662"/>
                    </a:cubicBezTo>
                    <a:cubicBezTo>
                      <a:pt x="112800" y="347411"/>
                      <a:pt x="116041" y="346540"/>
                      <a:pt x="119062" y="345281"/>
                    </a:cubicBezTo>
                    <a:cubicBezTo>
                      <a:pt x="125615" y="342550"/>
                      <a:pt x="132205" y="339694"/>
                      <a:pt x="138112" y="335756"/>
                    </a:cubicBezTo>
                    <a:lnTo>
                      <a:pt x="152400" y="326231"/>
                    </a:lnTo>
                    <a:lnTo>
                      <a:pt x="161925" y="311943"/>
                    </a:lnTo>
                    <a:cubicBezTo>
                      <a:pt x="163512" y="309562"/>
                      <a:pt x="165782" y="307515"/>
                      <a:pt x="166687" y="304800"/>
                    </a:cubicBezTo>
                    <a:cubicBezTo>
                      <a:pt x="172129" y="288479"/>
                      <a:pt x="165707" y="308724"/>
                      <a:pt x="171450" y="285750"/>
                    </a:cubicBezTo>
                    <a:cubicBezTo>
                      <a:pt x="172059" y="283315"/>
                      <a:pt x="173267" y="281052"/>
                      <a:pt x="173831" y="278606"/>
                    </a:cubicBezTo>
                    <a:cubicBezTo>
                      <a:pt x="175651" y="270718"/>
                      <a:pt x="178594" y="254793"/>
                      <a:pt x="178594" y="254793"/>
                    </a:cubicBezTo>
                    <a:cubicBezTo>
                      <a:pt x="177791" y="183356"/>
                      <a:pt x="176212" y="111923"/>
                      <a:pt x="176212" y="40481"/>
                    </a:cubicBezTo>
                    <a:lnTo>
                      <a:pt x="13335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K" sz="8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43170955-A93B-4D98-ABC4-CDBC490CC5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65609" y="2905185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AE75B69-83A2-4537-9DA5-6D239F20E0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95501" y="2627604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1CA8C683-83C1-48D4-ADE0-38C4EB2AAF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03458" y="2507913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BC03E5E-8E91-4DB6-A570-E9F34F302D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73191" y="3469518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D9A3FCD2-BB4E-4B19-884B-641B0A76BE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56614" y="2536599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5C7D2CC-346C-415F-9DDC-DF7DB79CE4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56614" y="2759543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EBB436A0-E889-4483-8C7E-FAA73DC41F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50121" y="2885515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22F66C75-2876-4A92-8F63-3F9586A17A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69204" y="2861597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16CFDBE5-36C5-4872-B3DF-981B97FB44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80280" y="2813071"/>
              <a:ext cx="91004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60310BFD-AF15-41C1-9400-DBF5E2E611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23703" y="3224929"/>
              <a:ext cx="91004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B293B563-8E5D-4C45-9195-45B09F4EC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91194" y="3118715"/>
              <a:ext cx="91004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49D2AEE6-8319-45EE-ACB4-A4AC290D3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95623" y="2948978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F8A5310E-4477-40E4-95B8-84FBC176E7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0720" y="3303278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9D02E75-D8E3-4784-8AF3-49EECAE6A4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22171" y="3009049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C4A6917B-28B6-4DD0-932E-E0863F7E6E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50302" y="2485071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D2BD7E28-C340-4A40-9D1D-FD12408FA2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57339" y="2679830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A12EC786-5D8E-481F-BF16-0A998A1B85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4547" y="3133924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45D82718-2856-4705-B5A0-0319B2C208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94608" y="2903475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A34E2054-CD92-409C-A0E0-61445F541F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85110" y="2966540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6B2E5C55-1348-476F-9C11-17F216856C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01909" y="3085485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3" name="Picture 132">
              <a:extLst>
                <a:ext uri="{FF2B5EF4-FFF2-40B4-BE49-F238E27FC236}">
                  <a16:creationId xmlns:a16="http://schemas.microsoft.com/office/drawing/2014/main" id="{A0D69E16-CC58-4510-B8AE-CB74CE12F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1365" y="5791397"/>
              <a:ext cx="1272255" cy="391287"/>
            </a:xfrm>
            <a:prstGeom prst="rect">
              <a:avLst/>
            </a:prstGeom>
          </p:spPr>
        </p:pic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B3D7BEBE-3780-490C-85BE-20EEF29607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656072" y="798998"/>
              <a:ext cx="991094" cy="437131"/>
            </a:xfrm>
            <a:prstGeom prst="rect">
              <a:avLst/>
            </a:prstGeom>
          </p:spPr>
        </p:pic>
        <p:pic>
          <p:nvPicPr>
            <p:cNvPr id="135" name="Picture 134">
              <a:extLst>
                <a:ext uri="{FF2B5EF4-FFF2-40B4-BE49-F238E27FC236}">
                  <a16:creationId xmlns:a16="http://schemas.microsoft.com/office/drawing/2014/main" id="{E59A6008-2E82-4FEA-BED9-85755041E5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0833" y="1110420"/>
              <a:ext cx="1169009" cy="529063"/>
            </a:xfrm>
            <a:prstGeom prst="rect">
              <a:avLst/>
            </a:prstGeom>
          </p:spPr>
        </p:pic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553377A4-CAA2-4477-A098-37C0CBACFC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817993" y="5328548"/>
              <a:ext cx="1520958" cy="456288"/>
            </a:xfrm>
            <a:prstGeom prst="rect">
              <a:avLst/>
            </a:prstGeom>
          </p:spPr>
        </p:pic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C560A714-5200-4EBD-8E1A-68DD198BC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303999" y="850625"/>
              <a:ext cx="1209902" cy="519590"/>
            </a:xfrm>
            <a:prstGeom prst="rect">
              <a:avLst/>
            </a:prstGeom>
          </p:spPr>
        </p:pic>
        <p:pic>
          <p:nvPicPr>
            <p:cNvPr id="138" name="Picture 2" descr="http://copenhagenoptimization.com/wp-content/uploads/Heathrow_Logo_2013.png">
              <a:extLst>
                <a:ext uri="{FF2B5EF4-FFF2-40B4-BE49-F238E27FC236}">
                  <a16:creationId xmlns:a16="http://schemas.microsoft.com/office/drawing/2014/main" id="{95D635B6-5AB9-47CE-BB2E-AB100689AA2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84111" y="996013"/>
              <a:ext cx="1695484" cy="4947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FC63F82C-9409-478A-B630-F3FD4FB83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341185" y="312727"/>
              <a:ext cx="1199731" cy="642419"/>
            </a:xfrm>
            <a:prstGeom prst="rect">
              <a:avLst/>
            </a:prstGeom>
          </p:spPr>
        </p:pic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670DA242-42E8-4A4D-A2B2-A7772AADE4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7380"/>
            <a:stretch/>
          </p:blipFill>
          <p:spPr>
            <a:xfrm>
              <a:off x="7964803" y="1371082"/>
              <a:ext cx="1941497" cy="754960"/>
            </a:xfrm>
            <a:prstGeom prst="rect">
              <a:avLst/>
            </a:prstGeom>
          </p:spPr>
        </p:pic>
        <p:pic>
          <p:nvPicPr>
            <p:cNvPr id="141" name="Picture 2" descr="OAMC NewLogo">
              <a:extLst>
                <a:ext uri="{FF2B5EF4-FFF2-40B4-BE49-F238E27FC236}">
                  <a16:creationId xmlns:a16="http://schemas.microsoft.com/office/drawing/2014/main" id="{977FA4A3-B574-4904-80A5-8B295A6C1C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7887" y="5061599"/>
              <a:ext cx="1220883" cy="561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7580F270-127C-4932-9706-216B12300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476715" y="1036971"/>
              <a:ext cx="483091" cy="421156"/>
            </a:xfrm>
            <a:prstGeom prst="rect">
              <a:avLst/>
            </a:prstGeom>
          </p:spPr>
        </p:pic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4C47643D-08CD-4CFE-9879-A66960FE9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8553550" y="254222"/>
              <a:ext cx="1682338" cy="477081"/>
            </a:xfrm>
            <a:prstGeom prst="rect">
              <a:avLst/>
            </a:prstGeom>
          </p:spPr>
        </p:pic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76774851-30EE-4D27-AF58-4E41664E67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805657" y="269463"/>
              <a:ext cx="1026611" cy="461521"/>
            </a:xfrm>
            <a:prstGeom prst="rect">
              <a:avLst/>
            </a:prstGeom>
          </p:spPr>
        </p:pic>
        <p:pic>
          <p:nvPicPr>
            <p:cNvPr id="145" name="Picture 144">
              <a:extLst>
                <a:ext uri="{FF2B5EF4-FFF2-40B4-BE49-F238E27FC236}">
                  <a16:creationId xmlns:a16="http://schemas.microsoft.com/office/drawing/2014/main" id="{3C32DEF8-A3D0-439F-8E00-8728F6E3A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4471537" y="6052625"/>
              <a:ext cx="973132" cy="464109"/>
            </a:xfrm>
            <a:prstGeom prst="rect">
              <a:avLst/>
            </a:prstGeom>
          </p:spPr>
        </p:pic>
        <p:pic>
          <p:nvPicPr>
            <p:cNvPr id="146" name="Picture 2" descr="cid:image001.png@01D01B64.E8DA3B00">
              <a:extLst>
                <a:ext uri="{FF2B5EF4-FFF2-40B4-BE49-F238E27FC236}">
                  <a16:creationId xmlns:a16="http://schemas.microsoft.com/office/drawing/2014/main" id="{0EAED005-5837-4EC7-8EB9-CC1DA43314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59652" y="5189056"/>
              <a:ext cx="973132" cy="195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7" name="Picture 146">
              <a:extLst>
                <a:ext uri="{FF2B5EF4-FFF2-40B4-BE49-F238E27FC236}">
                  <a16:creationId xmlns:a16="http://schemas.microsoft.com/office/drawing/2014/main" id="{6F20EE6D-D7D6-486B-8149-2DC2DE35EE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1959683" y="4746905"/>
              <a:ext cx="1085850" cy="552450"/>
            </a:xfrm>
            <a:prstGeom prst="rect">
              <a:avLst/>
            </a:prstGeom>
          </p:spPr>
        </p:pic>
        <p:pic>
          <p:nvPicPr>
            <p:cNvPr id="148" name="Picture 147">
              <a:extLst>
                <a:ext uri="{FF2B5EF4-FFF2-40B4-BE49-F238E27FC236}">
                  <a16:creationId xmlns:a16="http://schemas.microsoft.com/office/drawing/2014/main" id="{6CA5F4AD-8721-4934-B913-F00B42D411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295425" y="3176490"/>
              <a:ext cx="789013" cy="470863"/>
            </a:xfrm>
            <a:prstGeom prst="rect">
              <a:avLst/>
            </a:prstGeom>
          </p:spPr>
        </p:pic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8743141E-5ECF-4ABD-8B71-8A3C8DCB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560546" y="554244"/>
              <a:ext cx="1081442" cy="395248"/>
            </a:xfrm>
            <a:prstGeom prst="rect">
              <a:avLst/>
            </a:prstGeom>
          </p:spPr>
        </p:pic>
        <p:pic>
          <p:nvPicPr>
            <p:cNvPr id="150" name="Picture 149">
              <a:extLst>
                <a:ext uri="{FF2B5EF4-FFF2-40B4-BE49-F238E27FC236}">
                  <a16:creationId xmlns:a16="http://schemas.microsoft.com/office/drawing/2014/main" id="{E2F54E75-038E-49E9-BF3C-EBB38F827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654155" y="4919054"/>
              <a:ext cx="912195" cy="387585"/>
            </a:xfrm>
            <a:prstGeom prst="rect">
              <a:avLst/>
            </a:prstGeom>
          </p:spPr>
        </p:pic>
        <p:pic>
          <p:nvPicPr>
            <p:cNvPr id="151" name="Picture 150">
              <a:extLst>
                <a:ext uri="{FF2B5EF4-FFF2-40B4-BE49-F238E27FC236}">
                  <a16:creationId xmlns:a16="http://schemas.microsoft.com/office/drawing/2014/main" id="{31A5EEFD-A766-46E4-8797-3829557DA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366472" y="4027980"/>
              <a:ext cx="1168056" cy="386357"/>
            </a:xfrm>
            <a:prstGeom prst="rect">
              <a:avLst/>
            </a:prstGeom>
          </p:spPr>
        </p:pic>
        <p:pic>
          <p:nvPicPr>
            <p:cNvPr id="152" name="Picture 151">
              <a:extLst>
                <a:ext uri="{FF2B5EF4-FFF2-40B4-BE49-F238E27FC236}">
                  <a16:creationId xmlns:a16="http://schemas.microsoft.com/office/drawing/2014/main" id="{BC07D6BD-CBBF-41D2-836B-85277F6B6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10604391" y="2305570"/>
              <a:ext cx="949059" cy="387585"/>
            </a:xfrm>
            <a:prstGeom prst="rect">
              <a:avLst/>
            </a:prstGeom>
          </p:spPr>
        </p:pic>
        <p:pic>
          <p:nvPicPr>
            <p:cNvPr id="153" name="Picture 152">
              <a:extLst>
                <a:ext uri="{FF2B5EF4-FFF2-40B4-BE49-F238E27FC236}">
                  <a16:creationId xmlns:a16="http://schemas.microsoft.com/office/drawing/2014/main" id="{2AAEA88D-406B-4A48-9E3C-21433E846B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953701" y="5701337"/>
              <a:ext cx="1182677" cy="514350"/>
            </a:xfrm>
            <a:prstGeom prst="rect">
              <a:avLst/>
            </a:prstGeom>
          </p:spPr>
        </p:pic>
        <p:pic>
          <p:nvPicPr>
            <p:cNvPr id="154" name="Picture 153">
              <a:extLst>
                <a:ext uri="{FF2B5EF4-FFF2-40B4-BE49-F238E27FC236}">
                  <a16:creationId xmlns:a16="http://schemas.microsoft.com/office/drawing/2014/main" id="{747DBCCB-F228-4A4A-957B-34AF7C97F5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2161725" y="3027553"/>
              <a:ext cx="598581" cy="876493"/>
            </a:xfrm>
            <a:prstGeom prst="rect">
              <a:avLst/>
            </a:prstGeom>
          </p:spPr>
        </p:pic>
        <p:pic>
          <p:nvPicPr>
            <p:cNvPr id="155" name="Picture 154">
              <a:extLst>
                <a:ext uri="{FF2B5EF4-FFF2-40B4-BE49-F238E27FC236}">
                  <a16:creationId xmlns:a16="http://schemas.microsoft.com/office/drawing/2014/main" id="{B449DD04-B702-44D8-9C09-3E862F0E54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9433469" y="3394283"/>
              <a:ext cx="1106386" cy="409711"/>
            </a:xfrm>
            <a:prstGeom prst="rect">
              <a:avLst/>
            </a:prstGeom>
          </p:spPr>
        </p:pic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CDA5A743-A654-472A-875D-ADEC7A169A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649565" y="2548987"/>
              <a:ext cx="1272255" cy="557369"/>
            </a:xfrm>
            <a:prstGeom prst="rect">
              <a:avLst/>
            </a:prstGeom>
          </p:spPr>
        </p:pic>
        <p:pic>
          <p:nvPicPr>
            <p:cNvPr id="157" name="Picture 156">
              <a:extLst>
                <a:ext uri="{FF2B5EF4-FFF2-40B4-BE49-F238E27FC236}">
                  <a16:creationId xmlns:a16="http://schemas.microsoft.com/office/drawing/2014/main" id="{8890DF42-1EBE-4A86-96F8-FD1764A4F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10858587" y="1540869"/>
              <a:ext cx="1030781" cy="448666"/>
            </a:xfrm>
            <a:prstGeom prst="rect">
              <a:avLst/>
            </a:prstGeom>
          </p:spPr>
        </p:pic>
        <p:pic>
          <p:nvPicPr>
            <p:cNvPr id="158" name="Picture 157">
              <a:extLst>
                <a:ext uri="{FF2B5EF4-FFF2-40B4-BE49-F238E27FC236}">
                  <a16:creationId xmlns:a16="http://schemas.microsoft.com/office/drawing/2014/main" id="{A62A7D1C-139A-4340-B03D-39B30EE11F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82065" y="2034641"/>
              <a:ext cx="1625715" cy="309660"/>
            </a:xfrm>
            <a:prstGeom prst="rect">
              <a:avLst/>
            </a:prstGeom>
          </p:spPr>
        </p:pic>
        <p:pic>
          <p:nvPicPr>
            <p:cNvPr id="159" name="Picture 158">
              <a:extLst>
                <a:ext uri="{FF2B5EF4-FFF2-40B4-BE49-F238E27FC236}">
                  <a16:creationId xmlns:a16="http://schemas.microsoft.com/office/drawing/2014/main" id="{E4A84E36-DFA5-476C-9BC9-A51CEAEFA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9964582" y="4132951"/>
              <a:ext cx="1819665" cy="448253"/>
            </a:xfrm>
            <a:prstGeom prst="rect">
              <a:avLst/>
            </a:prstGeom>
          </p:spPr>
        </p:pic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1279E6B-2F82-4D9D-B680-017BB1E208B9}"/>
                </a:ext>
              </a:extLst>
            </p:cNvPr>
            <p:cNvSpPr/>
            <p:nvPr/>
          </p:nvSpPr>
          <p:spPr>
            <a:xfrm>
              <a:off x="5595020" y="2576076"/>
              <a:ext cx="330037" cy="32348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61" name="Straight Arrow Connector 160">
              <a:extLst>
                <a:ext uri="{FF2B5EF4-FFF2-40B4-BE49-F238E27FC236}">
                  <a16:creationId xmlns:a16="http://schemas.microsoft.com/office/drawing/2014/main" id="{0C0BD474-6E42-4C82-9F74-C0E4897541D0}"/>
                </a:ext>
              </a:extLst>
            </p:cNvPr>
            <p:cNvCxnSpPr>
              <a:cxnSpLocks/>
              <a:stCxn id="160" idx="1"/>
            </p:cNvCxnSpPr>
            <p:nvPr/>
          </p:nvCxnSpPr>
          <p:spPr>
            <a:xfrm flipH="1" flipV="1">
              <a:off x="5438808" y="2524258"/>
              <a:ext cx="156212" cy="213561"/>
            </a:xfrm>
            <a:prstGeom prst="straightConnector1">
              <a:avLst/>
            </a:prstGeom>
            <a:ln>
              <a:solidFill>
                <a:schemeClr val="tx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2" name="Picture 2" descr="Image result for aberdeen airport logo">
              <a:extLst>
                <a:ext uri="{FF2B5EF4-FFF2-40B4-BE49-F238E27FC236}">
                  <a16:creationId xmlns:a16="http://schemas.microsoft.com/office/drawing/2014/main" id="{A154E437-4DEF-4FE0-9E57-1470ABC5EE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0038" y="5968729"/>
              <a:ext cx="1537854" cy="336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" name="Picture 4" descr="Image result for glasgow airport logo">
              <a:extLst>
                <a:ext uri="{FF2B5EF4-FFF2-40B4-BE49-F238E27FC236}">
                  <a16:creationId xmlns:a16="http://schemas.microsoft.com/office/drawing/2014/main" id="{69CA88A1-772C-47AA-981B-563AA0105E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24264" y="2850548"/>
              <a:ext cx="589398" cy="5867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4" name="Picture 6" descr="Image result for southampton airport logo">
              <a:extLst>
                <a:ext uri="{FF2B5EF4-FFF2-40B4-BE49-F238E27FC236}">
                  <a16:creationId xmlns:a16="http://schemas.microsoft.com/office/drawing/2014/main" id="{6D4C6C89-DC21-4CF2-810A-14E0771341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35888" y="5771610"/>
              <a:ext cx="1341339" cy="299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5" name="Picture 8" descr="Image result for jfk terminal 4 airport logo">
              <a:extLst>
                <a:ext uri="{FF2B5EF4-FFF2-40B4-BE49-F238E27FC236}">
                  <a16:creationId xmlns:a16="http://schemas.microsoft.com/office/drawing/2014/main" id="{6BBF716E-20BE-4681-AA1E-7E835C2C2B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9"/>
            <a:srcRect/>
            <a:stretch/>
          </p:blipFill>
          <p:spPr bwMode="auto">
            <a:xfrm>
              <a:off x="776189" y="5567577"/>
              <a:ext cx="1285244" cy="4510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65EF427D-C24B-4F2F-B8DA-1ACEF51DB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57339" y="2788218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67" name="Picture 166">
              <a:extLst>
                <a:ext uri="{FF2B5EF4-FFF2-40B4-BE49-F238E27FC236}">
                  <a16:creationId xmlns:a16="http://schemas.microsoft.com/office/drawing/2014/main" id="{83B61C9E-D055-4AD6-9782-EEF03DB4A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1605056" y="1159813"/>
              <a:ext cx="1549940" cy="364260"/>
            </a:xfrm>
            <a:prstGeom prst="rect">
              <a:avLst/>
            </a:prstGeom>
          </p:spPr>
        </p:pic>
        <p:pic>
          <p:nvPicPr>
            <p:cNvPr id="168" name="Picture 167">
              <a:extLst>
                <a:ext uri="{FF2B5EF4-FFF2-40B4-BE49-F238E27FC236}">
                  <a16:creationId xmlns:a16="http://schemas.microsoft.com/office/drawing/2014/main" id="{B8F859B9-DEAA-4A31-B888-879338C076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2519" y="255675"/>
              <a:ext cx="1357724" cy="561721"/>
            </a:xfrm>
            <a:prstGeom prst="rect">
              <a:avLst/>
            </a:prstGeom>
          </p:spPr>
        </p:pic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45212EDC-3CDF-423D-8A78-DB7D6787A9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92154" y="3098434"/>
              <a:ext cx="91004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A4B2E719-B572-4F92-8A85-21A6FB8AA1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71308" y="2952602"/>
              <a:ext cx="91004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1" name="Picture 2" descr="Image result for logo minneapolis airport">
              <a:extLst>
                <a:ext uri="{FF2B5EF4-FFF2-40B4-BE49-F238E27FC236}">
                  <a16:creationId xmlns:a16="http://schemas.microsoft.com/office/drawing/2014/main" id="{EFD03A4E-C5AE-457B-8CAB-7F4F812954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2841" y="4576275"/>
              <a:ext cx="737948" cy="446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4760814E-854B-4A0D-8F9F-A9ADE79CD5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95804" y="3189439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3" name="Picture 172" descr="A close up of a logo&#10;&#10;Description automatically generated">
              <a:extLst>
                <a:ext uri="{FF2B5EF4-FFF2-40B4-BE49-F238E27FC236}">
                  <a16:creationId xmlns:a16="http://schemas.microsoft.com/office/drawing/2014/main" id="{73735FB6-DE25-4248-92E5-E2B5F75D5A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0511" y="5189056"/>
              <a:ext cx="933109" cy="559339"/>
            </a:xfrm>
            <a:prstGeom prst="rect">
              <a:avLst/>
            </a:prstGeom>
          </p:spPr>
        </p:pic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9F35DE43-BD8E-4085-9BA4-DBE34610D4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17863" y="2971050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59E02EBE-E4CE-42BD-A7B8-0B15EC32E4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40599" y="2966539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6" name="Picture 2" descr="Image result for us cbp logo">
              <a:extLst>
                <a:ext uri="{FF2B5EF4-FFF2-40B4-BE49-F238E27FC236}">
                  <a16:creationId xmlns:a16="http://schemas.microsoft.com/office/drawing/2014/main" id="{4E741F96-BA87-4C12-B838-3829DCE00C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2564" y="3959261"/>
              <a:ext cx="1393155" cy="5643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6DB392AF-8F02-4319-93C4-31F6A539D3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34328" y="3959261"/>
              <a:ext cx="91005" cy="91005"/>
            </a:xfrm>
            <a:prstGeom prst="ellipse">
              <a:avLst/>
            </a:prstGeom>
            <a:solidFill>
              <a:schemeClr val="bg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8" name="Picture 2" descr="Singapore Changi Airport - Wikipedia">
              <a:extLst>
                <a:ext uri="{FF2B5EF4-FFF2-40B4-BE49-F238E27FC236}">
                  <a16:creationId xmlns:a16="http://schemas.microsoft.com/office/drawing/2014/main" id="{BCAD8278-65E2-43F2-9362-7524BA60B7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4026" y="4284933"/>
              <a:ext cx="1025804" cy="600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753A5BE7-CD44-446D-8204-87EF230ADA37}"/>
              </a:ext>
            </a:extLst>
          </p:cNvPr>
          <p:cNvGrpSpPr/>
          <p:nvPr/>
        </p:nvGrpSpPr>
        <p:grpSpPr>
          <a:xfrm>
            <a:off x="6451699" y="1919550"/>
            <a:ext cx="5390085" cy="461665"/>
            <a:chOff x="4252452" y="2006036"/>
            <a:chExt cx="5390085" cy="461665"/>
          </a:xfrm>
        </p:grpSpPr>
        <p:sp>
          <p:nvSpPr>
            <p:cNvPr id="186" name="Rectangle 3">
              <a:extLst>
                <a:ext uri="{FF2B5EF4-FFF2-40B4-BE49-F238E27FC236}">
                  <a16:creationId xmlns:a16="http://schemas.microsoft.com/office/drawing/2014/main" id="{F1A3F998-17D5-4641-8862-1FAA6191BA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52452" y="2006036"/>
              <a:ext cx="785471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algn="l" rtl="0" eaLnBrk="1" fontAlgn="base" hangingPunct="1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36525" indent="-1349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+mn-lt"/>
                </a:defRPr>
              </a:lvl2pPr>
              <a:lvl3pPr marL="28575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–"/>
                <a:defRPr sz="1200">
                  <a:solidFill>
                    <a:schemeClr val="tx1"/>
                  </a:solidFill>
                  <a:latin typeface="+mn-lt"/>
                </a:defRPr>
              </a:lvl3pPr>
              <a:lvl4pPr marL="422275" indent="-1349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4pPr>
              <a:lvl5pPr marL="5715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5pPr>
              <a:lvl6pPr marL="10287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6pPr>
              <a:lvl7pPr marL="14859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7pPr>
              <a:lvl8pPr marL="19431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8pPr>
              <a:lvl9pPr marL="24003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GB" sz="3000" b="1" i="1" dirty="0">
                  <a:solidFill>
                    <a:schemeClr val="bg2"/>
                  </a:solidFill>
                  <a:latin typeface="Benton Sans Book" panose="00000000000000020000" pitchFamily="2" charset="0"/>
                </a:rPr>
                <a:t>500</a:t>
              </a:r>
            </a:p>
          </p:txBody>
        </p:sp>
        <p:sp>
          <p:nvSpPr>
            <p:cNvPr id="187" name="Rectangle 3">
              <a:extLst>
                <a:ext uri="{FF2B5EF4-FFF2-40B4-BE49-F238E27FC236}">
                  <a16:creationId xmlns:a16="http://schemas.microsoft.com/office/drawing/2014/main" id="{6632B488-122A-4BEB-BFE0-67298C2106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55700" y="2206274"/>
              <a:ext cx="458683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1" fontAlgn="base" hangingPunct="1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36525" indent="-1349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+mn-lt"/>
                </a:defRPr>
              </a:lvl2pPr>
              <a:lvl3pPr marL="28575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–"/>
                <a:defRPr sz="1200">
                  <a:solidFill>
                    <a:schemeClr val="tx1"/>
                  </a:solidFill>
                  <a:latin typeface="+mn-lt"/>
                </a:defRPr>
              </a:lvl3pPr>
              <a:lvl4pPr marL="422275" indent="-1349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4pPr>
              <a:lvl5pPr marL="5715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5pPr>
              <a:lvl6pPr marL="10287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6pPr>
              <a:lvl7pPr marL="14859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7pPr>
              <a:lvl8pPr marL="19431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8pPr>
              <a:lvl9pPr marL="24003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GB" b="1" dirty="0">
                  <a:solidFill>
                    <a:schemeClr val="tx1"/>
                  </a:solidFill>
                  <a:latin typeface="Benton Sans Book" panose="00000000000000020000" pitchFamily="2" charset="0"/>
                </a:rPr>
                <a:t>Million passengers </a:t>
              </a:r>
              <a:r>
                <a:rPr lang="en-GB" dirty="0">
                  <a:solidFill>
                    <a:schemeClr val="tx1"/>
                  </a:solidFill>
                  <a:latin typeface="Benton Sans Book" panose="00000000000000020000" pitchFamily="2" charset="0"/>
                </a:rPr>
                <a:t>a year going through </a:t>
              </a:r>
              <a:r>
                <a:rPr lang="en-GB" dirty="0">
                  <a:latin typeface="Benton Sans Book" panose="00000000000000020000" pitchFamily="2" charset="0"/>
                </a:rPr>
                <a:t>our</a:t>
              </a:r>
              <a:r>
                <a:rPr lang="en-GB" dirty="0">
                  <a:solidFill>
                    <a:schemeClr val="tx1"/>
                  </a:solidFill>
                  <a:latin typeface="Benton Sans Book" panose="00000000000000020000" pitchFamily="2" charset="0"/>
                </a:rPr>
                <a:t> clients!</a:t>
              </a:r>
            </a:p>
          </p:txBody>
        </p:sp>
      </p:grpSp>
      <p:grpSp>
        <p:nvGrpSpPr>
          <p:cNvPr id="125961" name="Group 125960">
            <a:extLst>
              <a:ext uri="{FF2B5EF4-FFF2-40B4-BE49-F238E27FC236}">
                <a16:creationId xmlns:a16="http://schemas.microsoft.com/office/drawing/2014/main" id="{00CB2B02-8C78-40A2-A15F-73AF043730B7}"/>
              </a:ext>
            </a:extLst>
          </p:cNvPr>
          <p:cNvGrpSpPr/>
          <p:nvPr/>
        </p:nvGrpSpPr>
        <p:grpSpPr>
          <a:xfrm>
            <a:off x="11309005" y="1101083"/>
            <a:ext cx="580789" cy="580789"/>
            <a:chOff x="6240462" y="1101083"/>
            <a:chExt cx="580789" cy="580789"/>
          </a:xfrm>
        </p:grpSpPr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5953717D-4A62-4567-B2BB-8BDC21F9F904}"/>
                </a:ext>
              </a:extLst>
            </p:cNvPr>
            <p:cNvSpPr/>
            <p:nvPr/>
          </p:nvSpPr>
          <p:spPr>
            <a:xfrm>
              <a:off x="6240462" y="1101083"/>
              <a:ext cx="580789" cy="5807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>
                <a:solidFill>
                  <a:schemeClr val="bg1"/>
                </a:solidFill>
              </a:endParaRPr>
            </a:p>
          </p:txBody>
        </p:sp>
        <p:pic>
          <p:nvPicPr>
            <p:cNvPr id="189" name="Graphic 188" descr="Flag">
              <a:extLst>
                <a:ext uri="{FF2B5EF4-FFF2-40B4-BE49-F238E27FC236}">
                  <a16:creationId xmlns:a16="http://schemas.microsoft.com/office/drawing/2014/main" id="{A22E0D6F-279E-4C1E-A668-DAB14F032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>
            <a:xfrm rot="20700000">
              <a:off x="6268425" y="1129046"/>
              <a:ext cx="524862" cy="524862"/>
            </a:xfrm>
            <a:prstGeom prst="rect">
              <a:avLst/>
            </a:prstGeom>
          </p:spPr>
        </p:pic>
      </p:grpSp>
      <p:sp>
        <p:nvSpPr>
          <p:cNvPr id="219" name="Title 1">
            <a:extLst>
              <a:ext uri="{FF2B5EF4-FFF2-40B4-BE49-F238E27FC236}">
                <a16:creationId xmlns:a16="http://schemas.microsoft.com/office/drawing/2014/main" id="{DCC5D0A3-A52A-469A-9740-0C60388B2493}"/>
              </a:ext>
            </a:extLst>
          </p:cNvPr>
          <p:cNvSpPr txBox="1">
            <a:spLocks/>
          </p:cNvSpPr>
          <p:nvPr/>
        </p:nvSpPr>
        <p:spPr>
          <a:xfrm>
            <a:off x="3320748" y="3108093"/>
            <a:ext cx="2057032" cy="2492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>
                <a:solidFill>
                  <a:schemeClr val="tx2"/>
                </a:solidFill>
              </a:rPr>
              <a:t>BETTER </a:t>
            </a:r>
            <a:r>
              <a:rPr lang="en-US" sz="1800" dirty="0">
                <a:solidFill>
                  <a:srgbClr val="4FBCD1"/>
                </a:solidFill>
              </a:rPr>
              <a:t>AIRPORT®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DBFE53B7-1FBE-4C03-881D-B73AE21E84E2}"/>
              </a:ext>
            </a:extLst>
          </p:cNvPr>
          <p:cNvSpPr txBox="1"/>
          <p:nvPr/>
        </p:nvSpPr>
        <p:spPr>
          <a:xfrm>
            <a:off x="242979" y="3056895"/>
            <a:ext cx="242246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Benton Sans Book" panose="00000000000000020000" pitchFamily="2" charset="0"/>
              </a:rPr>
              <a:t>Capacity planning</a:t>
            </a:r>
          </a:p>
          <a:p>
            <a:pPr algn="ctr"/>
            <a:r>
              <a:rPr lang="en-US" sz="1200" dirty="0">
                <a:latin typeface="Benton Sans Book" panose="00000000000000020000" pitchFamily="2" charset="0"/>
              </a:rPr>
              <a:t>Operational optimization</a:t>
            </a:r>
          </a:p>
          <a:p>
            <a:pPr algn="ctr"/>
            <a:r>
              <a:rPr lang="en-US" sz="1200" dirty="0">
                <a:latin typeface="Benton Sans Book" panose="00000000000000020000" pitchFamily="2" charset="0"/>
              </a:rPr>
              <a:t>Operational strategy</a:t>
            </a:r>
          </a:p>
          <a:p>
            <a:pPr algn="ctr"/>
            <a:r>
              <a:rPr lang="en-US" sz="1200" dirty="0">
                <a:latin typeface="Benton Sans Book" panose="00000000000000020000" pitchFamily="2" charset="0"/>
              </a:rPr>
              <a:t>COVID-19 resumption</a:t>
            </a: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F159842A-C17E-4A03-8292-9A12D8BF7691}"/>
              </a:ext>
            </a:extLst>
          </p:cNvPr>
          <p:cNvGrpSpPr/>
          <p:nvPr/>
        </p:nvGrpSpPr>
        <p:grpSpPr>
          <a:xfrm>
            <a:off x="304800" y="1337871"/>
            <a:ext cx="5400676" cy="239792"/>
            <a:chOff x="304800" y="1337871"/>
            <a:chExt cx="1725668" cy="239792"/>
          </a:xfrm>
        </p:grpSpPr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FA5AD274-4834-4774-90D6-EFA45C50FACF}"/>
                </a:ext>
              </a:extLst>
            </p:cNvPr>
            <p:cNvSpPr txBox="1"/>
            <p:nvPr/>
          </p:nvSpPr>
          <p:spPr>
            <a:xfrm>
              <a:off x="304800" y="1337871"/>
              <a:ext cx="1725666" cy="184666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b" anchorCtr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200" b="1" dirty="0"/>
                <a:t>What we do</a:t>
              </a:r>
              <a:endParaRPr lang="en-US" sz="1200" dirty="0"/>
            </a:p>
          </p:txBody>
        </p: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40BCA70-F03B-44F5-BA39-106549AA8B93}"/>
                </a:ext>
              </a:extLst>
            </p:cNvPr>
            <p:cNvCxnSpPr/>
            <p:nvPr/>
          </p:nvCxnSpPr>
          <p:spPr>
            <a:xfrm>
              <a:off x="304801" y="1577663"/>
              <a:ext cx="1725667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960" name="Group 125959">
            <a:extLst>
              <a:ext uri="{FF2B5EF4-FFF2-40B4-BE49-F238E27FC236}">
                <a16:creationId xmlns:a16="http://schemas.microsoft.com/office/drawing/2014/main" id="{8BC0C35E-2A81-4F94-A300-7E78C26B3C6B}"/>
              </a:ext>
            </a:extLst>
          </p:cNvPr>
          <p:cNvGrpSpPr/>
          <p:nvPr/>
        </p:nvGrpSpPr>
        <p:grpSpPr>
          <a:xfrm>
            <a:off x="5370749" y="1101083"/>
            <a:ext cx="580789" cy="580789"/>
            <a:chOff x="300037" y="1101083"/>
            <a:chExt cx="580789" cy="580789"/>
          </a:xfrm>
        </p:grpSpPr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17DBFEC9-331B-4A93-82DC-D21B812AC9C3}"/>
                </a:ext>
              </a:extLst>
            </p:cNvPr>
            <p:cNvSpPr/>
            <p:nvPr/>
          </p:nvSpPr>
          <p:spPr>
            <a:xfrm>
              <a:off x="300037" y="1101083"/>
              <a:ext cx="580789" cy="5807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>
                <a:solidFill>
                  <a:schemeClr val="bg1"/>
                </a:solidFill>
              </a:endParaRPr>
            </a:p>
          </p:txBody>
        </p:sp>
        <p:pic>
          <p:nvPicPr>
            <p:cNvPr id="199" name="Picture 198" descr="A close up of a fan&#10;&#10;Description automatically generated">
              <a:extLst>
                <a:ext uri="{FF2B5EF4-FFF2-40B4-BE49-F238E27FC236}">
                  <a16:creationId xmlns:a16="http://schemas.microsoft.com/office/drawing/2014/main" id="{1490DE19-E51F-4817-94C2-C005C7FDC0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757" y="1121803"/>
              <a:ext cx="539349" cy="5393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758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55AF2-FC26-4092-92C4-5A882E6A6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5A9C76-451A-4D3F-BC8B-2D0FAA8B85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DC92F2-090B-409C-9B3D-4ECA1235B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-134937" fontAlgn="base">
              <a:spcAft>
                <a:spcPct val="0"/>
              </a:spcAft>
              <a:tabLst>
                <a:tab pos="388938" algn="r"/>
                <a:tab pos="447675" algn="l"/>
              </a:tabLst>
            </a:pPr>
            <a:r>
              <a:rPr lang="en-US" dirty="0"/>
              <a:t>	Note:	?</a:t>
            </a:r>
          </a:p>
          <a:p>
            <a:pPr indent="-134937" fontAlgn="base">
              <a:spcAft>
                <a:spcPct val="0"/>
              </a:spcAft>
              <a:tabLst>
                <a:tab pos="388938" algn="r"/>
                <a:tab pos="447675" algn="l"/>
              </a:tabLst>
            </a:pPr>
            <a:r>
              <a:rPr lang="en-US" dirty="0"/>
              <a:t>	* 	?</a:t>
            </a:r>
          </a:p>
          <a:p>
            <a:pPr indent="-134937" fontAlgn="base">
              <a:spcAft>
                <a:spcPct val="0"/>
              </a:spcAft>
              <a:tabLst>
                <a:tab pos="388938" algn="r"/>
                <a:tab pos="447675" algn="l"/>
              </a:tabLst>
            </a:pPr>
            <a:r>
              <a:rPr lang="en-US" dirty="0"/>
              <a:t>	Source:	Copenhagen Optimization analysis, Desktop research</a:t>
            </a:r>
          </a:p>
        </p:txBody>
      </p:sp>
      <p:pic>
        <p:nvPicPr>
          <p:cNvPr id="6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F05919DE-E31D-4DA6-B987-C47A57CAA3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952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1711151D-1784-4980-841B-8F2FC84BB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accuracy passenger forecasts are the foundation of optimized airport opera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4DBC74-2AAF-4775-86D2-67A6DD6B8C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69897265-3519-44D0-8D29-BF3F9BEE65FF}"/>
              </a:ext>
            </a:extLst>
          </p:cNvPr>
          <p:cNvSpPr/>
          <p:nvPr/>
        </p:nvSpPr>
        <p:spPr>
          <a:xfrm>
            <a:off x="5220748" y="2058130"/>
            <a:ext cx="1610461" cy="5587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>
                <a:solidFill>
                  <a:schemeClr val="bg2"/>
                </a:solidFill>
                <a:latin typeface="Benton Sans Book" panose="00000000000000020000" pitchFamily="2" charset="0"/>
              </a:rPr>
              <a:t>Input</a:t>
            </a:r>
            <a:r>
              <a:rPr lang="en-US" dirty="0">
                <a:solidFill>
                  <a:srgbClr val="4D4C4C"/>
                </a:solidFill>
                <a:latin typeface="Benton Sans Book" panose="00000000000000020000" pitchFamily="2" charset="0"/>
              </a:rPr>
              <a:t>:</a:t>
            </a:r>
            <a:r>
              <a:rPr lang="en-US" b="1" dirty="0">
                <a:solidFill>
                  <a:srgbClr val="4D4C4C"/>
                </a:solidFill>
                <a:latin typeface="Benton Sans Book" panose="00000000000000020000" pitchFamily="2" charset="0"/>
              </a:rPr>
              <a:t> </a:t>
            </a:r>
            <a:r>
              <a:rPr lang="en-US" dirty="0">
                <a:solidFill>
                  <a:srgbClr val="4D4C4C"/>
                </a:solidFill>
                <a:latin typeface="Benton Sans Book" panose="00000000000000020000" pitchFamily="2" charset="0"/>
              </a:rPr>
              <a:t>Flight information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9E7860D-0B51-42F8-B09E-D0594B944BCD}"/>
              </a:ext>
            </a:extLst>
          </p:cNvPr>
          <p:cNvSpPr/>
          <p:nvPr/>
        </p:nvSpPr>
        <p:spPr>
          <a:xfrm>
            <a:off x="7205596" y="2060624"/>
            <a:ext cx="4081837" cy="5587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>
                <a:solidFill>
                  <a:schemeClr val="bg2"/>
                </a:solidFill>
                <a:latin typeface="Benton Sans Book" panose="00000000000000020000" pitchFamily="2" charset="0"/>
              </a:rPr>
              <a:t>Forecast</a:t>
            </a:r>
            <a:r>
              <a:rPr lang="en-US" dirty="0">
                <a:solidFill>
                  <a:srgbClr val="4D4C4C"/>
                </a:solidFill>
                <a:latin typeface="Benton Sans Book" panose="00000000000000020000" pitchFamily="2" charset="0"/>
              </a:rPr>
              <a:t>:</a:t>
            </a:r>
            <a:r>
              <a:rPr lang="en-US" b="1" dirty="0">
                <a:solidFill>
                  <a:srgbClr val="4D4C4C"/>
                </a:solidFill>
                <a:latin typeface="Benton Sans Book" panose="00000000000000020000" pitchFamily="2" charset="0"/>
              </a:rPr>
              <a:t> </a:t>
            </a:r>
            <a:r>
              <a:rPr lang="en-US" dirty="0">
                <a:solidFill>
                  <a:srgbClr val="4D4C4C"/>
                </a:solidFill>
                <a:latin typeface="Benton Sans Book" panose="00000000000000020000" pitchFamily="2" charset="0"/>
              </a:rPr>
              <a:t>Load factor (numbers of passengers divided by seat capacity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9320B11-30D5-42A5-B12F-B5B2AD3B5B94}"/>
              </a:ext>
            </a:extLst>
          </p:cNvPr>
          <p:cNvSpPr/>
          <p:nvPr/>
        </p:nvSpPr>
        <p:spPr>
          <a:xfrm>
            <a:off x="699596" y="2270850"/>
            <a:ext cx="3624943" cy="141605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4D4C4C"/>
                </a:solidFill>
                <a:latin typeface="Benton Sans Book" panose="00000000000000020000" pitchFamily="2" charset="0"/>
              </a:rPr>
              <a:t>Input flight information: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sz="1400" dirty="0">
                <a:solidFill>
                  <a:srgbClr val="4D4C4C"/>
                </a:solidFill>
                <a:latin typeface="Benton Sans Book" panose="00000000000000020000" pitchFamily="2" charset="0"/>
              </a:rPr>
              <a:t>Future flight schedule for March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sz="1400" dirty="0">
                <a:solidFill>
                  <a:srgbClr val="4D4C4C"/>
                </a:solidFill>
                <a:latin typeface="Benton Sans Book" panose="00000000000000020000" pitchFamily="2" charset="0"/>
              </a:rPr>
              <a:t>Flight schedules with realized load factors for the past year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002496F-79C9-40BD-AD75-23FD6ACAC7B2}"/>
              </a:ext>
            </a:extLst>
          </p:cNvPr>
          <p:cNvGrpSpPr/>
          <p:nvPr/>
        </p:nvGrpSpPr>
        <p:grpSpPr>
          <a:xfrm>
            <a:off x="304800" y="1337871"/>
            <a:ext cx="11582400" cy="239792"/>
            <a:chOff x="406394" y="1554083"/>
            <a:chExt cx="11379206" cy="239792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F2F1D89-5ADD-4F52-A71E-DDE578628FC9}"/>
                </a:ext>
              </a:extLst>
            </p:cNvPr>
            <p:cNvSpPr txBox="1"/>
            <p:nvPr/>
          </p:nvSpPr>
          <p:spPr>
            <a:xfrm>
              <a:off x="406394" y="1554083"/>
              <a:ext cx="11379194" cy="184666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b" anchorCtr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GB" sz="1200" b="1" dirty="0">
                  <a:solidFill>
                    <a:schemeClr val="tx1"/>
                  </a:solidFill>
                  <a:latin typeface="Benton Sans Book" panose="00000000000000020000" pitchFamily="2" charset="0"/>
                </a:rPr>
                <a:t>Passenger Forecasting Case</a:t>
              </a:r>
              <a:endParaRPr lang="en-GB" sz="1200" b="0" dirty="0">
                <a:solidFill>
                  <a:schemeClr val="tx1"/>
                </a:solidFill>
                <a:latin typeface="Benton Sans Book" panose="00000000000000020000" pitchFamily="2" charset="0"/>
              </a:endParaRP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0322F48-3F78-4F9F-A97B-1E21DCFA8164}"/>
                </a:ext>
              </a:extLst>
            </p:cNvPr>
            <p:cNvCxnSpPr/>
            <p:nvPr/>
          </p:nvCxnSpPr>
          <p:spPr>
            <a:xfrm>
              <a:off x="406400" y="1793875"/>
              <a:ext cx="113792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7" name="Picture 2" descr="Billedresultat for airplane pictogram">
            <a:extLst>
              <a:ext uri="{FF2B5EF4-FFF2-40B4-BE49-F238E27FC236}">
                <a16:creationId xmlns:a16="http://schemas.microsoft.com/office/drawing/2014/main" id="{33177ACE-0EFA-4901-8692-1A837AD96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9850" y="2945953"/>
            <a:ext cx="904875" cy="90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7EE13658-EF64-4FA3-A3ED-223C4A3BF908}"/>
              </a:ext>
            </a:extLst>
          </p:cNvPr>
          <p:cNvGrpSpPr/>
          <p:nvPr/>
        </p:nvGrpSpPr>
        <p:grpSpPr>
          <a:xfrm>
            <a:off x="7816596" y="3001104"/>
            <a:ext cx="806004" cy="849724"/>
            <a:chOff x="3502536" y="1344629"/>
            <a:chExt cx="806004" cy="849724"/>
          </a:xfrm>
        </p:grpSpPr>
        <p:pic>
          <p:nvPicPr>
            <p:cNvPr id="69" name="Picture 4" descr="Billedresultat for man pictogram">
              <a:extLst>
                <a:ext uri="{FF2B5EF4-FFF2-40B4-BE49-F238E27FC236}">
                  <a16:creationId xmlns:a16="http://schemas.microsoft.com/office/drawing/2014/main" id="{523A9F0B-1C62-40FB-91CD-B11AD4D168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976" y="1344629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4" descr="Billedresultat for man pictogram">
              <a:extLst>
                <a:ext uri="{FF2B5EF4-FFF2-40B4-BE49-F238E27FC236}">
                  <a16:creationId xmlns:a16="http://schemas.microsoft.com/office/drawing/2014/main" id="{81A09560-5BFF-4130-BE39-CA70E2CAD7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376" y="1497029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4" descr="Billedresultat for man pictogram">
              <a:extLst>
                <a:ext uri="{FF2B5EF4-FFF2-40B4-BE49-F238E27FC236}">
                  <a16:creationId xmlns:a16="http://schemas.microsoft.com/office/drawing/2014/main" id="{57907139-CFCC-4152-818E-009AAB374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0776" y="1356155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4" descr="Billedresultat for man pictogram">
              <a:extLst>
                <a:ext uri="{FF2B5EF4-FFF2-40B4-BE49-F238E27FC236}">
                  <a16:creationId xmlns:a16="http://schemas.microsoft.com/office/drawing/2014/main" id="{53C89351-4725-45E4-9E1E-C1BFCB006E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02536" y="1598944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4" descr="Billedresultat for man pictogram">
              <a:extLst>
                <a:ext uri="{FF2B5EF4-FFF2-40B4-BE49-F238E27FC236}">
                  <a16:creationId xmlns:a16="http://schemas.microsoft.com/office/drawing/2014/main" id="{3CF72EB4-4190-4363-ABD4-79E0AFA94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1340" y="1737154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4" descr="Billedresultat for man pictogram">
              <a:extLst>
                <a:ext uri="{FF2B5EF4-FFF2-40B4-BE49-F238E27FC236}">
                  <a16:creationId xmlns:a16="http://schemas.microsoft.com/office/drawing/2014/main" id="{2D97453C-08FD-432F-8994-ECC2BD1334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9940" y="1573228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EEDE0B4-A82B-49C0-A7CB-DF92ABB41850}"/>
              </a:ext>
            </a:extLst>
          </p:cNvPr>
          <p:cNvGrpSpPr/>
          <p:nvPr/>
        </p:nvGrpSpPr>
        <p:grpSpPr>
          <a:xfrm>
            <a:off x="5669849" y="3928948"/>
            <a:ext cx="3205927" cy="904875"/>
            <a:chOff x="1355789" y="2272473"/>
            <a:chExt cx="3205927" cy="904875"/>
          </a:xfrm>
        </p:grpSpPr>
        <p:pic>
          <p:nvPicPr>
            <p:cNvPr id="76" name="Picture 4" descr="Billedresultat for man pictogram">
              <a:extLst>
                <a:ext uri="{FF2B5EF4-FFF2-40B4-BE49-F238E27FC236}">
                  <a16:creationId xmlns:a16="http://schemas.microsoft.com/office/drawing/2014/main" id="{185F4755-97EA-47B4-9FD2-53194C539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8152" y="2386203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4" descr="Billedresultat for man pictogram">
              <a:extLst>
                <a:ext uri="{FF2B5EF4-FFF2-40B4-BE49-F238E27FC236}">
                  <a16:creationId xmlns:a16="http://schemas.microsoft.com/office/drawing/2014/main" id="{EE9E234A-451C-4DDB-BCE0-226C60DEA8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976" y="2584798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4" descr="Billedresultat for man pictogram">
              <a:extLst>
                <a:ext uri="{FF2B5EF4-FFF2-40B4-BE49-F238E27FC236}">
                  <a16:creationId xmlns:a16="http://schemas.microsoft.com/office/drawing/2014/main" id="{75060584-A06D-4ECA-8DE6-B8DA2E009D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1340" y="2435350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4" descr="Billedresultat for man pictogram">
              <a:extLst>
                <a:ext uri="{FF2B5EF4-FFF2-40B4-BE49-F238E27FC236}">
                  <a16:creationId xmlns:a16="http://schemas.microsoft.com/office/drawing/2014/main" id="{FBC5A0A2-219C-4C94-B80D-F49C3E1A96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6752" y="2310003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4" descr="Billedresultat for man pictogram">
              <a:extLst>
                <a:ext uri="{FF2B5EF4-FFF2-40B4-BE49-F238E27FC236}">
                  <a16:creationId xmlns:a16="http://schemas.microsoft.com/office/drawing/2014/main" id="{13787116-A759-4263-AA4A-83766CCC7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6416" y="2386203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4" descr="Billedresultat for man pictogram">
              <a:extLst>
                <a:ext uri="{FF2B5EF4-FFF2-40B4-BE49-F238E27FC236}">
                  <a16:creationId xmlns:a16="http://schemas.microsoft.com/office/drawing/2014/main" id="{32A9E959-DE86-4F41-9832-A9B59D0CDC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0216" y="2663949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" name="Picture 2" descr="Billedresultat for airplane pictogram">
              <a:extLst>
                <a:ext uri="{FF2B5EF4-FFF2-40B4-BE49-F238E27FC236}">
                  <a16:creationId xmlns:a16="http://schemas.microsoft.com/office/drawing/2014/main" id="{2C296089-3AF8-407B-B92C-B0D52C3E09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5789" y="2272473"/>
              <a:ext cx="904875" cy="904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Picture 4" descr="Billedresultat for man pictogram">
              <a:extLst>
                <a:ext uri="{FF2B5EF4-FFF2-40B4-BE49-F238E27FC236}">
                  <a16:creationId xmlns:a16="http://schemas.microsoft.com/office/drawing/2014/main" id="{3236D337-7485-4909-9566-5AA9DD255C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8816" y="2538603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4" descr="Billedresultat for man pictogram">
              <a:extLst>
                <a:ext uri="{FF2B5EF4-FFF2-40B4-BE49-F238E27FC236}">
                  <a16:creationId xmlns:a16="http://schemas.microsoft.com/office/drawing/2014/main" id="{495A3992-3882-4204-8594-F38DFCD4A7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3116" y="2352768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E86374D9-3905-453F-91E2-89DACF75B849}"/>
              </a:ext>
            </a:extLst>
          </p:cNvPr>
          <p:cNvGrpSpPr/>
          <p:nvPr/>
        </p:nvGrpSpPr>
        <p:grpSpPr>
          <a:xfrm>
            <a:off x="5664737" y="4909726"/>
            <a:ext cx="3081718" cy="926871"/>
            <a:chOff x="1362458" y="3551585"/>
            <a:chExt cx="3081718" cy="926871"/>
          </a:xfrm>
        </p:grpSpPr>
        <p:pic>
          <p:nvPicPr>
            <p:cNvPr id="86" name="Picture 2" descr="Billedresultat for airplane pictogram">
              <a:extLst>
                <a:ext uri="{FF2B5EF4-FFF2-40B4-BE49-F238E27FC236}">
                  <a16:creationId xmlns:a16="http://schemas.microsoft.com/office/drawing/2014/main" id="{6EDA2D7F-7600-446B-8736-01628433A7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2458" y="3551585"/>
              <a:ext cx="904875" cy="904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4" descr="Billedresultat for man pictogram">
              <a:extLst>
                <a:ext uri="{FF2B5EF4-FFF2-40B4-BE49-F238E27FC236}">
                  <a16:creationId xmlns:a16="http://schemas.microsoft.com/office/drawing/2014/main" id="{8A7DB75B-EE8C-4F4B-A1DF-811188432D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1612" y="3628732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8" name="Picture 4" descr="Billedresultat for man pictogram">
              <a:extLst>
                <a:ext uri="{FF2B5EF4-FFF2-40B4-BE49-F238E27FC236}">
                  <a16:creationId xmlns:a16="http://schemas.microsoft.com/office/drawing/2014/main" id="{DCF5B855-8704-414F-B147-D4C316D307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4012" y="3781132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Picture 4" descr="Billedresultat for man pictogram">
              <a:extLst>
                <a:ext uri="{FF2B5EF4-FFF2-40B4-BE49-F238E27FC236}">
                  <a16:creationId xmlns:a16="http://schemas.microsoft.com/office/drawing/2014/main" id="{015AB996-26EC-40F2-ABFE-0F8C20BD79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6412" y="3640258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0" name="Picture 4" descr="Billedresultat for man pictogram">
              <a:extLst>
                <a:ext uri="{FF2B5EF4-FFF2-40B4-BE49-F238E27FC236}">
                  <a16:creationId xmlns:a16="http://schemas.microsoft.com/office/drawing/2014/main" id="{0DC05EF8-5C74-4707-BDA0-9762AE0EF9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8172" y="3883047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1" name="Picture 4" descr="Billedresultat for man pictogram">
              <a:extLst>
                <a:ext uri="{FF2B5EF4-FFF2-40B4-BE49-F238E27FC236}">
                  <a16:creationId xmlns:a16="http://schemas.microsoft.com/office/drawing/2014/main" id="{CA1E087C-C968-4A95-8ED5-12F323DFA2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6976" y="4021257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2" name="Picture 4" descr="Billedresultat for man pictogram">
              <a:extLst>
                <a:ext uri="{FF2B5EF4-FFF2-40B4-BE49-F238E27FC236}">
                  <a16:creationId xmlns:a16="http://schemas.microsoft.com/office/drawing/2014/main" id="{A1C594BB-CCCC-4A1A-A313-51005A7BC7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5576" y="3857331"/>
              <a:ext cx="228600" cy="457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4C60BBA9-15F3-4E56-BE17-AC1C32B85139}"/>
              </a:ext>
            </a:extLst>
          </p:cNvPr>
          <p:cNvSpPr/>
          <p:nvPr/>
        </p:nvSpPr>
        <p:spPr>
          <a:xfrm>
            <a:off x="699596" y="4201700"/>
            <a:ext cx="3624943" cy="141605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4D4C4C"/>
                </a:solidFill>
                <a:latin typeface="Benton Sans Book" panose="00000000000000020000" pitchFamily="2" charset="0"/>
              </a:rPr>
              <a:t>Goal of the forecast: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4D4C4C"/>
                </a:solidFill>
                <a:latin typeface="Benton Sans Book" panose="00000000000000020000" pitchFamily="2" charset="0"/>
              </a:rPr>
              <a:t>We want to predict the load factors for all flights in March. </a:t>
            </a: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4D4C4C"/>
              </a:solidFill>
              <a:latin typeface="Benton Sans Book" panose="0000000000000002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5672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42B6F-2CB7-404B-AFD6-D45A53E28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Example</a:t>
            </a:r>
            <a:endParaRPr lang="en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D55FF9-343F-48EE-BA5B-4346797399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814AF9-6A72-4F2A-AB18-D9010F95A875}"/>
              </a:ext>
            </a:extLst>
          </p:cNvPr>
          <p:cNvSpPr/>
          <p:nvPr/>
        </p:nvSpPr>
        <p:spPr>
          <a:xfrm>
            <a:off x="9189839" y="1239289"/>
            <a:ext cx="2697361" cy="464239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  <a:latin typeface="Benton Sans Book" panose="00000000000000020000" pitchFamily="2" charset="0"/>
              </a:rPr>
              <a:t>Featur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  <a:latin typeface="Benton Sans Book" panose="00000000000000020000" pitchFamily="2" charset="0"/>
              </a:rPr>
              <a:t>ScheduleTime</a:t>
            </a: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: Date and time of departure for the flight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Airline: Abbreviation code for airlin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  <a:latin typeface="Benton Sans Book" panose="00000000000000020000" pitchFamily="2" charset="0"/>
              </a:rPr>
              <a:t>FlightNumber</a:t>
            </a: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: ID number of the flight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Destination: Abbreviation code for destination airport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  <a:latin typeface="Benton Sans Book" panose="00000000000000020000" pitchFamily="2" charset="0"/>
              </a:rPr>
              <a:t>AircraftType</a:t>
            </a: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: Abbreviation code for aircraft typ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  <a:latin typeface="Benton Sans Book" panose="00000000000000020000" pitchFamily="2" charset="0"/>
              </a:rPr>
              <a:t>FlightType</a:t>
            </a: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: J (Scheduled flight), C (charter flight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Sector: Country code for destinatio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Seat Capacity: Number of seats on the flight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Load Factor: Share of seats occupied by passengers on the fligh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257F216-A9E6-48B4-A55E-00EAC1EB5C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184" y="1034616"/>
            <a:ext cx="7762500" cy="515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2418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>
            <a:extLst>
              <a:ext uri="{FF2B5EF4-FFF2-40B4-BE49-F238E27FC236}">
                <a16:creationId xmlns:a16="http://schemas.microsoft.com/office/drawing/2014/main" id="{9E0A6F0A-54E1-4668-B2AA-47CE8577E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8" name="Object 37" hidden="1">
                        <a:extLst>
                          <a:ext uri="{FF2B5EF4-FFF2-40B4-BE49-F238E27FC236}">
                            <a16:creationId xmlns:a16="http://schemas.microsoft.com/office/drawing/2014/main" id="{9E0A6F0A-54E1-4668-B2AA-47CE8577E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57CAC8CA-10B7-4854-92A7-AEB45EA79F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EA7C11-4386-48CC-A0C8-66565B8E9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enton Sans Book" panose="00000000000000020000" pitchFamily="2" charset="0"/>
              </a:rPr>
              <a:t>Preprocessing steps: Training and test datase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EB126F-BF20-4F86-ACFE-3C125E1460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3A04F1A-DF16-4A23-95FC-7A5279708A22}"/>
              </a:ext>
            </a:extLst>
          </p:cNvPr>
          <p:cNvGrpSpPr/>
          <p:nvPr/>
        </p:nvGrpSpPr>
        <p:grpSpPr>
          <a:xfrm>
            <a:off x="304800" y="1337871"/>
            <a:ext cx="11582400" cy="239792"/>
            <a:chOff x="406394" y="1554083"/>
            <a:chExt cx="11379206" cy="23979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782E06E-87A5-4D99-A79F-03466FD8C925}"/>
                </a:ext>
              </a:extLst>
            </p:cNvPr>
            <p:cNvSpPr txBox="1"/>
            <p:nvPr/>
          </p:nvSpPr>
          <p:spPr>
            <a:xfrm>
              <a:off x="406394" y="1554083"/>
              <a:ext cx="11379194" cy="184666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b" anchorCtr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GB" sz="1200" b="1" dirty="0">
                  <a:solidFill>
                    <a:schemeClr val="tx1"/>
                  </a:solidFill>
                  <a:latin typeface="Benton Sans Book" panose="00000000000000020000" pitchFamily="2" charset="0"/>
                </a:rPr>
                <a:t>Training and test datasets</a:t>
              </a:r>
              <a:endParaRPr lang="en-GB" sz="1200" b="0" dirty="0">
                <a:solidFill>
                  <a:schemeClr val="tx1"/>
                </a:solidFill>
                <a:latin typeface="Benton Sans Book" panose="00000000000000020000" pitchFamily="2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D8251A6-1E67-4A84-905A-8E62E68FFF85}"/>
                </a:ext>
              </a:extLst>
            </p:cNvPr>
            <p:cNvCxnSpPr/>
            <p:nvPr/>
          </p:nvCxnSpPr>
          <p:spPr>
            <a:xfrm>
              <a:off x="406400" y="1793875"/>
              <a:ext cx="113792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3192E6C-9887-4DD2-8C1F-DBD3A82B9001}"/>
              </a:ext>
            </a:extLst>
          </p:cNvPr>
          <p:cNvCxnSpPr>
            <a:cxnSpLocks/>
          </p:cNvCxnSpPr>
          <p:nvPr/>
        </p:nvCxnSpPr>
        <p:spPr>
          <a:xfrm>
            <a:off x="294863" y="2138524"/>
            <a:ext cx="791238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4C6D35A-B039-431C-9722-FF30F1825387}"/>
              </a:ext>
            </a:extLst>
          </p:cNvPr>
          <p:cNvGrpSpPr/>
          <p:nvPr/>
        </p:nvGrpSpPr>
        <p:grpSpPr>
          <a:xfrm>
            <a:off x="455267" y="2058573"/>
            <a:ext cx="144000" cy="4160343"/>
            <a:chOff x="1441500" y="2029361"/>
            <a:chExt cx="144000" cy="4264008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896673A-54B2-49CF-8308-2AC1DA7F68FA}"/>
                </a:ext>
              </a:extLst>
            </p:cNvPr>
            <p:cNvSpPr/>
            <p:nvPr/>
          </p:nvSpPr>
          <p:spPr>
            <a:xfrm>
              <a:off x="1441500" y="2029361"/>
              <a:ext cx="144000" cy="14417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9A6989A1-1BB0-4F91-A00F-7AED78D12DDC}"/>
                </a:ext>
              </a:extLst>
            </p:cNvPr>
            <p:cNvCxnSpPr>
              <a:cxnSpLocks/>
              <a:stCxn id="41" idx="4"/>
            </p:cNvCxnSpPr>
            <p:nvPr/>
          </p:nvCxnSpPr>
          <p:spPr>
            <a:xfrm>
              <a:off x="1513500" y="2173532"/>
              <a:ext cx="0" cy="4119837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B72771C-87D7-4C40-B433-08D8F74F2310}"/>
              </a:ext>
            </a:extLst>
          </p:cNvPr>
          <p:cNvGrpSpPr/>
          <p:nvPr/>
        </p:nvGrpSpPr>
        <p:grpSpPr>
          <a:xfrm>
            <a:off x="1727443" y="2077516"/>
            <a:ext cx="144000" cy="4159767"/>
            <a:chOff x="4219594" y="1958937"/>
            <a:chExt cx="121934" cy="4282462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5DE2B470-8D54-428B-A2A7-A053B20E4EBE}"/>
                </a:ext>
              </a:extLst>
            </p:cNvPr>
            <p:cNvSpPr/>
            <p:nvPr/>
          </p:nvSpPr>
          <p:spPr>
            <a:xfrm>
              <a:off x="4219594" y="1958937"/>
              <a:ext cx="121934" cy="1554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6753E915-57AD-41BB-88BA-62703DF6B068}"/>
                </a:ext>
              </a:extLst>
            </p:cNvPr>
            <p:cNvCxnSpPr>
              <a:cxnSpLocks/>
              <a:stCxn id="43" idx="4"/>
            </p:cNvCxnSpPr>
            <p:nvPr/>
          </p:nvCxnSpPr>
          <p:spPr>
            <a:xfrm>
              <a:off x="4280561" y="2114435"/>
              <a:ext cx="0" cy="4126964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B725AF9-B2C6-4233-AD26-2D884E6466F1}"/>
              </a:ext>
            </a:extLst>
          </p:cNvPr>
          <p:cNvGrpSpPr/>
          <p:nvPr/>
        </p:nvGrpSpPr>
        <p:grpSpPr>
          <a:xfrm>
            <a:off x="3170870" y="2069068"/>
            <a:ext cx="144000" cy="4168215"/>
            <a:chOff x="6567786" y="1973280"/>
            <a:chExt cx="144000" cy="4168215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B7047DD-343D-4F0B-9051-1FC4D3B4B5B5}"/>
                </a:ext>
              </a:extLst>
            </p:cNvPr>
            <p:cNvSpPr/>
            <p:nvPr/>
          </p:nvSpPr>
          <p:spPr>
            <a:xfrm>
              <a:off x="6567786" y="1973280"/>
              <a:ext cx="144000" cy="14417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6406776-F26A-4152-9CF4-2D75852C0891}"/>
                </a:ext>
              </a:extLst>
            </p:cNvPr>
            <p:cNvCxnSpPr>
              <a:cxnSpLocks/>
              <a:stCxn id="45" idx="4"/>
            </p:cNvCxnSpPr>
            <p:nvPr/>
          </p:nvCxnSpPr>
          <p:spPr>
            <a:xfrm>
              <a:off x="6639786" y="2117451"/>
              <a:ext cx="0" cy="4024044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C101509-92DB-48E8-9426-FFDDA58EF3FF}"/>
              </a:ext>
            </a:extLst>
          </p:cNvPr>
          <p:cNvGrpSpPr/>
          <p:nvPr/>
        </p:nvGrpSpPr>
        <p:grpSpPr>
          <a:xfrm>
            <a:off x="6997525" y="1768367"/>
            <a:ext cx="1214902" cy="4450550"/>
            <a:chOff x="8622424" y="1768367"/>
            <a:chExt cx="1214902" cy="3021484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C832E0E-5D90-421A-B00D-516A26B0FE14}"/>
                </a:ext>
              </a:extLst>
            </p:cNvPr>
            <p:cNvSpPr/>
            <p:nvPr/>
          </p:nvSpPr>
          <p:spPr>
            <a:xfrm>
              <a:off x="9157874" y="1973280"/>
              <a:ext cx="144000" cy="1025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5B7BF8B-833A-487D-B161-94ADE2A26C0B}"/>
                </a:ext>
              </a:extLst>
            </p:cNvPr>
            <p:cNvSpPr txBox="1"/>
            <p:nvPr/>
          </p:nvSpPr>
          <p:spPr>
            <a:xfrm>
              <a:off x="8622424" y="1768367"/>
              <a:ext cx="1214902" cy="1253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i="1" dirty="0">
                  <a:latin typeface="Benton Sans Book" panose="00000000000000020000" pitchFamily="2" charset="0"/>
                </a:rPr>
                <a:t>Test period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7AF8400-5B5B-41A3-A93F-16A01C90DE4B}"/>
                </a:ext>
              </a:extLst>
            </p:cNvPr>
            <p:cNvCxnSpPr>
              <a:cxnSpLocks/>
              <a:stCxn id="47" idx="4"/>
            </p:cNvCxnSpPr>
            <p:nvPr/>
          </p:nvCxnSpPr>
          <p:spPr>
            <a:xfrm>
              <a:off x="9229874" y="2075825"/>
              <a:ext cx="0" cy="2714026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DF334DA-DD51-4AEE-9399-583068AEDB3E}"/>
              </a:ext>
            </a:extLst>
          </p:cNvPr>
          <p:cNvGrpSpPr/>
          <p:nvPr/>
        </p:nvGrpSpPr>
        <p:grpSpPr>
          <a:xfrm>
            <a:off x="6094262" y="2069068"/>
            <a:ext cx="144000" cy="4168215"/>
            <a:chOff x="6567786" y="1973280"/>
            <a:chExt cx="144000" cy="4168215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FE7EF19-F844-4FBF-B447-219FAC2F8FE2}"/>
                </a:ext>
              </a:extLst>
            </p:cNvPr>
            <p:cNvSpPr/>
            <p:nvPr/>
          </p:nvSpPr>
          <p:spPr>
            <a:xfrm>
              <a:off x="6567786" y="1973280"/>
              <a:ext cx="144000" cy="14417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1CFFDDC-EE6C-46EB-9F1C-44614BCF0336}"/>
                </a:ext>
              </a:extLst>
            </p:cNvPr>
            <p:cNvCxnSpPr>
              <a:cxnSpLocks/>
              <a:stCxn id="53" idx="4"/>
            </p:cNvCxnSpPr>
            <p:nvPr/>
          </p:nvCxnSpPr>
          <p:spPr>
            <a:xfrm>
              <a:off x="6639786" y="2117451"/>
              <a:ext cx="0" cy="4024044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9107147-16B9-4ECF-869B-A5C842140B07}"/>
              </a:ext>
            </a:extLst>
          </p:cNvPr>
          <p:cNvGrpSpPr/>
          <p:nvPr/>
        </p:nvGrpSpPr>
        <p:grpSpPr>
          <a:xfrm>
            <a:off x="4621754" y="2077516"/>
            <a:ext cx="144000" cy="4159767"/>
            <a:chOff x="6567786" y="1973280"/>
            <a:chExt cx="144000" cy="4159767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75E0E897-A7DD-4444-BF28-FB3121637F0E}"/>
                </a:ext>
              </a:extLst>
            </p:cNvPr>
            <p:cNvSpPr/>
            <p:nvPr/>
          </p:nvSpPr>
          <p:spPr>
            <a:xfrm>
              <a:off x="6567786" y="1973280"/>
              <a:ext cx="144000" cy="14417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920D0468-3FF0-4E95-A038-1DCB8060DE9D}"/>
                </a:ext>
              </a:extLst>
            </p:cNvPr>
            <p:cNvCxnSpPr>
              <a:cxnSpLocks/>
              <a:stCxn id="49" idx="4"/>
            </p:cNvCxnSpPr>
            <p:nvPr/>
          </p:nvCxnSpPr>
          <p:spPr>
            <a:xfrm>
              <a:off x="6639786" y="2117451"/>
              <a:ext cx="0" cy="4015596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4DFA8C81-4918-4158-A26E-A09201EE08FB}"/>
              </a:ext>
            </a:extLst>
          </p:cNvPr>
          <p:cNvSpPr/>
          <p:nvPr/>
        </p:nvSpPr>
        <p:spPr>
          <a:xfrm rot="5400000">
            <a:off x="8287615" y="4162650"/>
            <a:ext cx="831798" cy="20002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200" b="1" dirty="0">
              <a:solidFill>
                <a:schemeClr val="bg1"/>
              </a:solidFill>
              <a:latin typeface="Benton Sans Book" panose="00000000000000020000" pitchFamily="2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D647EBE-6DAB-41B2-8506-5248103D6077}"/>
              </a:ext>
            </a:extLst>
          </p:cNvPr>
          <p:cNvSpPr/>
          <p:nvPr/>
        </p:nvSpPr>
        <p:spPr>
          <a:xfrm>
            <a:off x="9100009" y="3095901"/>
            <a:ext cx="2697361" cy="22263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  <a:latin typeface="Benton Sans Book" panose="00000000000000020000" pitchFamily="2" charset="0"/>
              </a:rPr>
              <a:t>Training the model</a:t>
            </a:r>
            <a:endParaRPr lang="en-US" sz="1200" dirty="0">
              <a:solidFill>
                <a:schemeClr val="tx1"/>
              </a:solidFill>
              <a:latin typeface="Benton Sans Book" panose="00000000000000020000" pitchFamily="2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What data is relevant to include in the training set?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Only recent data?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Same time of the year during last year?</a:t>
            </a:r>
          </a:p>
          <a:p>
            <a:pPr marL="628650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How could COVID19 have impacted the passenger numbers?</a:t>
            </a: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3A8C5A5B-7AAF-4434-BEBF-AD6713FC540E}"/>
              </a:ext>
            </a:extLst>
          </p:cNvPr>
          <p:cNvSpPr/>
          <p:nvPr/>
        </p:nvSpPr>
        <p:spPr>
          <a:xfrm>
            <a:off x="595200" y="3164895"/>
            <a:ext cx="7617228" cy="585995"/>
          </a:xfrm>
          <a:prstGeom prst="chevron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  <a:prstDash val="dash"/>
            <a:extLst>
              <a:ext uri="{C807C97D-BFC1-408E-A445-0C87EB9F89A2}">
                <ask:lineSketchStyleProps xmlns:ask="http://schemas.microsoft.com/office/drawing/2018/sketchyshapes" sd="2747145145">
                  <a:custGeom>
                    <a:avLst/>
                    <a:gdLst>
                      <a:gd name="connsiteX0" fmla="*/ 0 w 3573192"/>
                      <a:gd name="connsiteY0" fmla="*/ 0 h 585995"/>
                      <a:gd name="connsiteX1" fmla="*/ 656039 w 3573192"/>
                      <a:gd name="connsiteY1" fmla="*/ 0 h 585995"/>
                      <a:gd name="connsiteX2" fmla="*/ 1279276 w 3573192"/>
                      <a:gd name="connsiteY2" fmla="*/ 0 h 585995"/>
                      <a:gd name="connsiteX3" fmla="*/ 1968117 w 3573192"/>
                      <a:gd name="connsiteY3" fmla="*/ 0 h 585995"/>
                      <a:gd name="connsiteX4" fmla="*/ 2689760 w 3573192"/>
                      <a:gd name="connsiteY4" fmla="*/ 0 h 585995"/>
                      <a:gd name="connsiteX5" fmla="*/ 3280195 w 3573192"/>
                      <a:gd name="connsiteY5" fmla="*/ 0 h 585995"/>
                      <a:gd name="connsiteX6" fmla="*/ 3573192 w 3573192"/>
                      <a:gd name="connsiteY6" fmla="*/ 292998 h 585995"/>
                      <a:gd name="connsiteX7" fmla="*/ 3280195 w 3573192"/>
                      <a:gd name="connsiteY7" fmla="*/ 585995 h 585995"/>
                      <a:gd name="connsiteX8" fmla="*/ 2558552 w 3573192"/>
                      <a:gd name="connsiteY8" fmla="*/ 585995 h 585995"/>
                      <a:gd name="connsiteX9" fmla="*/ 2000919 w 3573192"/>
                      <a:gd name="connsiteY9" fmla="*/ 585995 h 585995"/>
                      <a:gd name="connsiteX10" fmla="*/ 1410484 w 3573192"/>
                      <a:gd name="connsiteY10" fmla="*/ 585995 h 585995"/>
                      <a:gd name="connsiteX11" fmla="*/ 820049 w 3573192"/>
                      <a:gd name="connsiteY11" fmla="*/ 585995 h 585995"/>
                      <a:gd name="connsiteX12" fmla="*/ 0 w 3573192"/>
                      <a:gd name="connsiteY12" fmla="*/ 585995 h 585995"/>
                      <a:gd name="connsiteX13" fmla="*/ 292998 w 3573192"/>
                      <a:gd name="connsiteY13" fmla="*/ 292998 h 585995"/>
                      <a:gd name="connsiteX14" fmla="*/ 0 w 3573192"/>
                      <a:gd name="connsiteY14" fmla="*/ 0 h 5859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3573192" h="585995" fill="none" extrusionOk="0">
                        <a:moveTo>
                          <a:pt x="0" y="0"/>
                        </a:moveTo>
                        <a:cubicBezTo>
                          <a:pt x="251437" y="22358"/>
                          <a:pt x="484644" y="-22708"/>
                          <a:pt x="656039" y="0"/>
                        </a:cubicBezTo>
                        <a:cubicBezTo>
                          <a:pt x="827434" y="22708"/>
                          <a:pt x="1098071" y="29963"/>
                          <a:pt x="1279276" y="0"/>
                        </a:cubicBezTo>
                        <a:cubicBezTo>
                          <a:pt x="1460481" y="-29963"/>
                          <a:pt x="1773453" y="-23659"/>
                          <a:pt x="1968117" y="0"/>
                        </a:cubicBezTo>
                        <a:cubicBezTo>
                          <a:pt x="2162781" y="23659"/>
                          <a:pt x="2419998" y="-34108"/>
                          <a:pt x="2689760" y="0"/>
                        </a:cubicBezTo>
                        <a:cubicBezTo>
                          <a:pt x="2959522" y="34108"/>
                          <a:pt x="3041242" y="-19193"/>
                          <a:pt x="3280195" y="0"/>
                        </a:cubicBezTo>
                        <a:cubicBezTo>
                          <a:pt x="3383298" y="93925"/>
                          <a:pt x="3496599" y="236662"/>
                          <a:pt x="3573192" y="292998"/>
                        </a:cubicBezTo>
                        <a:cubicBezTo>
                          <a:pt x="3425254" y="421769"/>
                          <a:pt x="3383999" y="508614"/>
                          <a:pt x="3280195" y="585995"/>
                        </a:cubicBezTo>
                        <a:cubicBezTo>
                          <a:pt x="3036456" y="595437"/>
                          <a:pt x="2902387" y="587774"/>
                          <a:pt x="2558552" y="585995"/>
                        </a:cubicBezTo>
                        <a:cubicBezTo>
                          <a:pt x="2214717" y="584216"/>
                          <a:pt x="2125959" y="574722"/>
                          <a:pt x="2000919" y="585995"/>
                        </a:cubicBezTo>
                        <a:cubicBezTo>
                          <a:pt x="1875879" y="597268"/>
                          <a:pt x="1546007" y="584755"/>
                          <a:pt x="1410484" y="585995"/>
                        </a:cubicBezTo>
                        <a:cubicBezTo>
                          <a:pt x="1274961" y="587235"/>
                          <a:pt x="969479" y="575745"/>
                          <a:pt x="820049" y="585995"/>
                        </a:cubicBezTo>
                        <a:cubicBezTo>
                          <a:pt x="670620" y="596245"/>
                          <a:pt x="363485" y="574410"/>
                          <a:pt x="0" y="585995"/>
                        </a:cubicBezTo>
                        <a:cubicBezTo>
                          <a:pt x="70039" y="528604"/>
                          <a:pt x="231146" y="381239"/>
                          <a:pt x="292998" y="292998"/>
                        </a:cubicBezTo>
                        <a:cubicBezTo>
                          <a:pt x="217489" y="197794"/>
                          <a:pt x="93610" y="86179"/>
                          <a:pt x="0" y="0"/>
                        </a:cubicBezTo>
                        <a:close/>
                      </a:path>
                      <a:path w="3573192" h="585995" stroke="0" extrusionOk="0">
                        <a:moveTo>
                          <a:pt x="0" y="0"/>
                        </a:moveTo>
                        <a:cubicBezTo>
                          <a:pt x="180639" y="23706"/>
                          <a:pt x="423992" y="-2147"/>
                          <a:pt x="590435" y="0"/>
                        </a:cubicBezTo>
                        <a:cubicBezTo>
                          <a:pt x="756878" y="2147"/>
                          <a:pt x="976893" y="-4330"/>
                          <a:pt x="1180870" y="0"/>
                        </a:cubicBezTo>
                        <a:cubicBezTo>
                          <a:pt x="1384848" y="4330"/>
                          <a:pt x="1497582" y="17302"/>
                          <a:pt x="1771305" y="0"/>
                        </a:cubicBezTo>
                        <a:cubicBezTo>
                          <a:pt x="2045028" y="-17302"/>
                          <a:pt x="2179249" y="23564"/>
                          <a:pt x="2394542" y="0"/>
                        </a:cubicBezTo>
                        <a:cubicBezTo>
                          <a:pt x="2609835" y="-23564"/>
                          <a:pt x="2912664" y="-25894"/>
                          <a:pt x="3280195" y="0"/>
                        </a:cubicBezTo>
                        <a:cubicBezTo>
                          <a:pt x="3344792" y="66871"/>
                          <a:pt x="3452135" y="155275"/>
                          <a:pt x="3573192" y="292998"/>
                        </a:cubicBezTo>
                        <a:cubicBezTo>
                          <a:pt x="3484106" y="375756"/>
                          <a:pt x="3377556" y="469748"/>
                          <a:pt x="3280195" y="585995"/>
                        </a:cubicBezTo>
                        <a:cubicBezTo>
                          <a:pt x="3035955" y="616883"/>
                          <a:pt x="2878697" y="590822"/>
                          <a:pt x="2624156" y="585995"/>
                        </a:cubicBezTo>
                        <a:cubicBezTo>
                          <a:pt x="2369615" y="581168"/>
                          <a:pt x="2284733" y="577040"/>
                          <a:pt x="2000919" y="585995"/>
                        </a:cubicBezTo>
                        <a:cubicBezTo>
                          <a:pt x="1717105" y="594950"/>
                          <a:pt x="1656413" y="588296"/>
                          <a:pt x="1443286" y="585995"/>
                        </a:cubicBezTo>
                        <a:cubicBezTo>
                          <a:pt x="1230159" y="583694"/>
                          <a:pt x="1029158" y="605467"/>
                          <a:pt x="721643" y="585995"/>
                        </a:cubicBezTo>
                        <a:cubicBezTo>
                          <a:pt x="414128" y="566523"/>
                          <a:pt x="346639" y="613708"/>
                          <a:pt x="0" y="585995"/>
                        </a:cubicBezTo>
                        <a:cubicBezTo>
                          <a:pt x="104948" y="482546"/>
                          <a:pt x="153864" y="446030"/>
                          <a:pt x="292998" y="292998"/>
                        </a:cubicBezTo>
                        <a:cubicBezTo>
                          <a:pt x="205779" y="184578"/>
                          <a:pt x="130147" y="138778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US" sz="1200" i="1" dirty="0">
                <a:solidFill>
                  <a:schemeClr val="tx1"/>
                </a:solidFill>
                <a:latin typeface="Benton Sans Book" panose="00000000000000020000" pitchFamily="2" charset="0"/>
              </a:rPr>
              <a:t>Training set last year</a:t>
            </a: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6D22498B-5365-4415-AE35-0925B927174F}"/>
              </a:ext>
            </a:extLst>
          </p:cNvPr>
          <p:cNvSpPr/>
          <p:nvPr/>
        </p:nvSpPr>
        <p:spPr>
          <a:xfrm>
            <a:off x="595199" y="2470501"/>
            <a:ext cx="7617228" cy="585995"/>
          </a:xfrm>
          <a:prstGeom prst="chevron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  <a:prstDash val="dash"/>
            <a:extLst>
              <a:ext uri="{C807C97D-BFC1-408E-A445-0C87EB9F89A2}">
                <ask:lineSketchStyleProps xmlns:ask="http://schemas.microsoft.com/office/drawing/2018/sketchyshapes" sd="2747145145">
                  <a:custGeom>
                    <a:avLst/>
                    <a:gdLst>
                      <a:gd name="connsiteX0" fmla="*/ 0 w 5839018"/>
                      <a:gd name="connsiteY0" fmla="*/ 0 h 585995"/>
                      <a:gd name="connsiteX1" fmla="*/ 693253 w 5839018"/>
                      <a:gd name="connsiteY1" fmla="*/ 0 h 585995"/>
                      <a:gd name="connsiteX2" fmla="*/ 1331045 w 5839018"/>
                      <a:gd name="connsiteY2" fmla="*/ 0 h 585995"/>
                      <a:gd name="connsiteX3" fmla="*/ 2079758 w 5839018"/>
                      <a:gd name="connsiteY3" fmla="*/ 0 h 585995"/>
                      <a:gd name="connsiteX4" fmla="*/ 2662090 w 5839018"/>
                      <a:gd name="connsiteY4" fmla="*/ 0 h 585995"/>
                      <a:gd name="connsiteX5" fmla="*/ 3188962 w 5839018"/>
                      <a:gd name="connsiteY5" fmla="*/ 0 h 585995"/>
                      <a:gd name="connsiteX6" fmla="*/ 3771294 w 5839018"/>
                      <a:gd name="connsiteY6" fmla="*/ 0 h 585995"/>
                      <a:gd name="connsiteX7" fmla="*/ 4353626 w 5839018"/>
                      <a:gd name="connsiteY7" fmla="*/ 0 h 585995"/>
                      <a:gd name="connsiteX8" fmla="*/ 5546021 w 5839018"/>
                      <a:gd name="connsiteY8" fmla="*/ 0 h 585995"/>
                      <a:gd name="connsiteX9" fmla="*/ 5839018 w 5839018"/>
                      <a:gd name="connsiteY9" fmla="*/ 292998 h 585995"/>
                      <a:gd name="connsiteX10" fmla="*/ 5546021 w 5839018"/>
                      <a:gd name="connsiteY10" fmla="*/ 585995 h 585995"/>
                      <a:gd name="connsiteX11" fmla="*/ 4741848 w 5839018"/>
                      <a:gd name="connsiteY11" fmla="*/ 585995 h 585995"/>
                      <a:gd name="connsiteX12" fmla="*/ 4214976 w 5839018"/>
                      <a:gd name="connsiteY12" fmla="*/ 585995 h 585995"/>
                      <a:gd name="connsiteX13" fmla="*/ 3466263 w 5839018"/>
                      <a:gd name="connsiteY13" fmla="*/ 585995 h 585995"/>
                      <a:gd name="connsiteX14" fmla="*/ 2828471 w 5839018"/>
                      <a:gd name="connsiteY14" fmla="*/ 585995 h 585995"/>
                      <a:gd name="connsiteX15" fmla="*/ 2190678 w 5839018"/>
                      <a:gd name="connsiteY15" fmla="*/ 585995 h 585995"/>
                      <a:gd name="connsiteX16" fmla="*/ 1497426 w 5839018"/>
                      <a:gd name="connsiteY16" fmla="*/ 585995 h 585995"/>
                      <a:gd name="connsiteX17" fmla="*/ 915093 w 5839018"/>
                      <a:gd name="connsiteY17" fmla="*/ 585995 h 585995"/>
                      <a:gd name="connsiteX18" fmla="*/ 0 w 5839018"/>
                      <a:gd name="connsiteY18" fmla="*/ 585995 h 585995"/>
                      <a:gd name="connsiteX19" fmla="*/ 292998 w 5839018"/>
                      <a:gd name="connsiteY19" fmla="*/ 292998 h 585995"/>
                      <a:gd name="connsiteX20" fmla="*/ 0 w 5839018"/>
                      <a:gd name="connsiteY20" fmla="*/ 0 h 5859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5839018" h="585995" fill="none" extrusionOk="0">
                        <a:moveTo>
                          <a:pt x="0" y="0"/>
                        </a:moveTo>
                        <a:cubicBezTo>
                          <a:pt x="268649" y="-30217"/>
                          <a:pt x="480331" y="-25763"/>
                          <a:pt x="693253" y="0"/>
                        </a:cubicBezTo>
                        <a:cubicBezTo>
                          <a:pt x="906175" y="25763"/>
                          <a:pt x="1091626" y="-20944"/>
                          <a:pt x="1331045" y="0"/>
                        </a:cubicBezTo>
                        <a:cubicBezTo>
                          <a:pt x="1570464" y="20944"/>
                          <a:pt x="1846530" y="-7042"/>
                          <a:pt x="2079758" y="0"/>
                        </a:cubicBezTo>
                        <a:cubicBezTo>
                          <a:pt x="2312986" y="7042"/>
                          <a:pt x="2476774" y="20394"/>
                          <a:pt x="2662090" y="0"/>
                        </a:cubicBezTo>
                        <a:cubicBezTo>
                          <a:pt x="2847406" y="-20394"/>
                          <a:pt x="2987700" y="23895"/>
                          <a:pt x="3188962" y="0"/>
                        </a:cubicBezTo>
                        <a:cubicBezTo>
                          <a:pt x="3390224" y="-23895"/>
                          <a:pt x="3611810" y="-29069"/>
                          <a:pt x="3771294" y="0"/>
                        </a:cubicBezTo>
                        <a:cubicBezTo>
                          <a:pt x="3930778" y="29069"/>
                          <a:pt x="4097732" y="15790"/>
                          <a:pt x="4353626" y="0"/>
                        </a:cubicBezTo>
                        <a:cubicBezTo>
                          <a:pt x="4609520" y="-15790"/>
                          <a:pt x="4978913" y="-5337"/>
                          <a:pt x="5546021" y="0"/>
                        </a:cubicBezTo>
                        <a:cubicBezTo>
                          <a:pt x="5603412" y="70039"/>
                          <a:pt x="5750777" y="231146"/>
                          <a:pt x="5839018" y="292998"/>
                        </a:cubicBezTo>
                        <a:cubicBezTo>
                          <a:pt x="5741987" y="367477"/>
                          <a:pt x="5627520" y="495922"/>
                          <a:pt x="5546021" y="585995"/>
                        </a:cubicBezTo>
                        <a:cubicBezTo>
                          <a:pt x="5365187" y="570423"/>
                          <a:pt x="5011649" y="550163"/>
                          <a:pt x="4741848" y="585995"/>
                        </a:cubicBezTo>
                        <a:cubicBezTo>
                          <a:pt x="4472047" y="621827"/>
                          <a:pt x="4340527" y="583920"/>
                          <a:pt x="4214976" y="585995"/>
                        </a:cubicBezTo>
                        <a:cubicBezTo>
                          <a:pt x="4089425" y="588070"/>
                          <a:pt x="3670548" y="601014"/>
                          <a:pt x="3466263" y="585995"/>
                        </a:cubicBezTo>
                        <a:cubicBezTo>
                          <a:pt x="3261978" y="570976"/>
                          <a:pt x="2986782" y="563128"/>
                          <a:pt x="2828471" y="585995"/>
                        </a:cubicBezTo>
                        <a:cubicBezTo>
                          <a:pt x="2670160" y="608862"/>
                          <a:pt x="2422994" y="562950"/>
                          <a:pt x="2190678" y="585995"/>
                        </a:cubicBezTo>
                        <a:cubicBezTo>
                          <a:pt x="1958362" y="609040"/>
                          <a:pt x="1792086" y="565373"/>
                          <a:pt x="1497426" y="585995"/>
                        </a:cubicBezTo>
                        <a:cubicBezTo>
                          <a:pt x="1202766" y="606617"/>
                          <a:pt x="1123156" y="570649"/>
                          <a:pt x="915093" y="585995"/>
                        </a:cubicBezTo>
                        <a:cubicBezTo>
                          <a:pt x="707030" y="601341"/>
                          <a:pt x="243631" y="600028"/>
                          <a:pt x="0" y="585995"/>
                        </a:cubicBezTo>
                        <a:cubicBezTo>
                          <a:pt x="109828" y="455189"/>
                          <a:pt x="194152" y="411061"/>
                          <a:pt x="292998" y="292998"/>
                        </a:cubicBezTo>
                        <a:cubicBezTo>
                          <a:pt x="234376" y="234117"/>
                          <a:pt x="123532" y="98097"/>
                          <a:pt x="0" y="0"/>
                        </a:cubicBezTo>
                        <a:close/>
                      </a:path>
                      <a:path w="5839018" h="585995" stroke="0" extrusionOk="0">
                        <a:moveTo>
                          <a:pt x="0" y="0"/>
                        </a:moveTo>
                        <a:cubicBezTo>
                          <a:pt x="145973" y="-9450"/>
                          <a:pt x="378633" y="-28550"/>
                          <a:pt x="582332" y="0"/>
                        </a:cubicBezTo>
                        <a:cubicBezTo>
                          <a:pt x="786031" y="28550"/>
                          <a:pt x="948544" y="26780"/>
                          <a:pt x="1164664" y="0"/>
                        </a:cubicBezTo>
                        <a:cubicBezTo>
                          <a:pt x="1380784" y="-26780"/>
                          <a:pt x="1615143" y="12435"/>
                          <a:pt x="1746997" y="0"/>
                        </a:cubicBezTo>
                        <a:cubicBezTo>
                          <a:pt x="1878851" y="-12435"/>
                          <a:pt x="2253271" y="25626"/>
                          <a:pt x="2384789" y="0"/>
                        </a:cubicBezTo>
                        <a:cubicBezTo>
                          <a:pt x="2516307" y="-25626"/>
                          <a:pt x="2805949" y="2216"/>
                          <a:pt x="3022581" y="0"/>
                        </a:cubicBezTo>
                        <a:cubicBezTo>
                          <a:pt x="3239213" y="-2216"/>
                          <a:pt x="3551758" y="14844"/>
                          <a:pt x="3715834" y="0"/>
                        </a:cubicBezTo>
                        <a:cubicBezTo>
                          <a:pt x="3879910" y="-14844"/>
                          <a:pt x="4031163" y="-16138"/>
                          <a:pt x="4242706" y="0"/>
                        </a:cubicBezTo>
                        <a:cubicBezTo>
                          <a:pt x="4454249" y="16138"/>
                          <a:pt x="4898655" y="-7830"/>
                          <a:pt x="5546021" y="0"/>
                        </a:cubicBezTo>
                        <a:cubicBezTo>
                          <a:pt x="5688011" y="142931"/>
                          <a:pt x="5767668" y="223395"/>
                          <a:pt x="5839018" y="292998"/>
                        </a:cubicBezTo>
                        <a:cubicBezTo>
                          <a:pt x="5737768" y="398752"/>
                          <a:pt x="5647400" y="513710"/>
                          <a:pt x="5546021" y="585995"/>
                        </a:cubicBezTo>
                        <a:cubicBezTo>
                          <a:pt x="5358452" y="615120"/>
                          <a:pt x="5014269" y="574471"/>
                          <a:pt x="4741848" y="585995"/>
                        </a:cubicBezTo>
                        <a:cubicBezTo>
                          <a:pt x="4469427" y="597519"/>
                          <a:pt x="4434467" y="573163"/>
                          <a:pt x="4159516" y="585995"/>
                        </a:cubicBezTo>
                        <a:cubicBezTo>
                          <a:pt x="3884565" y="598827"/>
                          <a:pt x="3699713" y="560815"/>
                          <a:pt x="3466263" y="585995"/>
                        </a:cubicBezTo>
                        <a:cubicBezTo>
                          <a:pt x="3232813" y="611175"/>
                          <a:pt x="2979521" y="575435"/>
                          <a:pt x="2828471" y="585995"/>
                        </a:cubicBezTo>
                        <a:cubicBezTo>
                          <a:pt x="2677421" y="596555"/>
                          <a:pt x="2409241" y="591254"/>
                          <a:pt x="2024298" y="585995"/>
                        </a:cubicBezTo>
                        <a:cubicBezTo>
                          <a:pt x="1639355" y="580736"/>
                          <a:pt x="1726900" y="577103"/>
                          <a:pt x="1441965" y="585995"/>
                        </a:cubicBezTo>
                        <a:cubicBezTo>
                          <a:pt x="1157030" y="594887"/>
                          <a:pt x="1054971" y="600180"/>
                          <a:pt x="915093" y="585995"/>
                        </a:cubicBezTo>
                        <a:cubicBezTo>
                          <a:pt x="775215" y="571810"/>
                          <a:pt x="278648" y="566645"/>
                          <a:pt x="0" y="585995"/>
                        </a:cubicBezTo>
                        <a:cubicBezTo>
                          <a:pt x="125461" y="449417"/>
                          <a:pt x="160796" y="422299"/>
                          <a:pt x="292998" y="292998"/>
                        </a:cubicBezTo>
                        <a:cubicBezTo>
                          <a:pt x="141185" y="162127"/>
                          <a:pt x="72411" y="76323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US" sz="1200" i="1" dirty="0">
                <a:solidFill>
                  <a:schemeClr val="tx1"/>
                </a:solidFill>
                <a:latin typeface="Benton Sans Book" panose="00000000000000020000" pitchFamily="2" charset="0"/>
              </a:rPr>
              <a:t>Training set this year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0B0272F9-C548-46ED-98D4-A635380AD108}"/>
              </a:ext>
            </a:extLst>
          </p:cNvPr>
          <p:cNvSpPr/>
          <p:nvPr/>
        </p:nvSpPr>
        <p:spPr>
          <a:xfrm>
            <a:off x="6785478" y="2470501"/>
            <a:ext cx="1421773" cy="585995"/>
          </a:xfrm>
          <a:prstGeom prst="chevron">
            <a:avLst/>
          </a:prstGeom>
          <a:solidFill>
            <a:schemeClr val="bg2"/>
          </a:solidFill>
          <a:ln>
            <a:noFill/>
            <a:extLst>
              <a:ext uri="{C807C97D-BFC1-408E-A445-0C87EB9F89A2}">
                <ask:lineSketchStyleProps xmlns:ask="http://schemas.microsoft.com/office/drawing/2018/sketchyshapes" sd="3557985094">
                  <a:custGeom>
                    <a:avLst/>
                    <a:gdLst>
                      <a:gd name="connsiteX0" fmla="*/ 0 w 4337132"/>
                      <a:gd name="connsiteY0" fmla="*/ 0 h 585995"/>
                      <a:gd name="connsiteX1" fmla="*/ 674023 w 4337132"/>
                      <a:gd name="connsiteY1" fmla="*/ 0 h 585995"/>
                      <a:gd name="connsiteX2" fmla="*/ 1428928 w 4337132"/>
                      <a:gd name="connsiteY2" fmla="*/ 0 h 585995"/>
                      <a:gd name="connsiteX3" fmla="*/ 2143392 w 4337132"/>
                      <a:gd name="connsiteY3" fmla="*/ 0 h 585995"/>
                      <a:gd name="connsiteX4" fmla="*/ 2736531 w 4337132"/>
                      <a:gd name="connsiteY4" fmla="*/ 0 h 585995"/>
                      <a:gd name="connsiteX5" fmla="*/ 3370112 w 4337132"/>
                      <a:gd name="connsiteY5" fmla="*/ 0 h 585995"/>
                      <a:gd name="connsiteX6" fmla="*/ 4044135 w 4337132"/>
                      <a:gd name="connsiteY6" fmla="*/ 0 h 585995"/>
                      <a:gd name="connsiteX7" fmla="*/ 4337132 w 4337132"/>
                      <a:gd name="connsiteY7" fmla="*/ 292998 h 585995"/>
                      <a:gd name="connsiteX8" fmla="*/ 4044135 w 4337132"/>
                      <a:gd name="connsiteY8" fmla="*/ 585995 h 585995"/>
                      <a:gd name="connsiteX9" fmla="*/ 3329671 w 4337132"/>
                      <a:gd name="connsiteY9" fmla="*/ 585995 h 585995"/>
                      <a:gd name="connsiteX10" fmla="*/ 2736531 w 4337132"/>
                      <a:gd name="connsiteY10" fmla="*/ 585995 h 585995"/>
                      <a:gd name="connsiteX11" fmla="*/ 2022068 w 4337132"/>
                      <a:gd name="connsiteY11" fmla="*/ 585995 h 585995"/>
                      <a:gd name="connsiteX12" fmla="*/ 1428928 w 4337132"/>
                      <a:gd name="connsiteY12" fmla="*/ 585995 h 585995"/>
                      <a:gd name="connsiteX13" fmla="*/ 876229 w 4337132"/>
                      <a:gd name="connsiteY13" fmla="*/ 585995 h 585995"/>
                      <a:gd name="connsiteX14" fmla="*/ 0 w 4337132"/>
                      <a:gd name="connsiteY14" fmla="*/ 585995 h 585995"/>
                      <a:gd name="connsiteX15" fmla="*/ 292998 w 4337132"/>
                      <a:gd name="connsiteY15" fmla="*/ 292998 h 585995"/>
                      <a:gd name="connsiteX16" fmla="*/ 0 w 4337132"/>
                      <a:gd name="connsiteY16" fmla="*/ 0 h 5859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4337132" h="585995" fill="none" extrusionOk="0">
                        <a:moveTo>
                          <a:pt x="0" y="0"/>
                        </a:moveTo>
                        <a:cubicBezTo>
                          <a:pt x="140802" y="6124"/>
                          <a:pt x="524092" y="19089"/>
                          <a:pt x="674023" y="0"/>
                        </a:cubicBezTo>
                        <a:cubicBezTo>
                          <a:pt x="823954" y="-19089"/>
                          <a:pt x="1070782" y="-18301"/>
                          <a:pt x="1428928" y="0"/>
                        </a:cubicBezTo>
                        <a:cubicBezTo>
                          <a:pt x="1787075" y="18301"/>
                          <a:pt x="1900375" y="-16320"/>
                          <a:pt x="2143392" y="0"/>
                        </a:cubicBezTo>
                        <a:cubicBezTo>
                          <a:pt x="2386409" y="16320"/>
                          <a:pt x="2459938" y="12481"/>
                          <a:pt x="2736531" y="0"/>
                        </a:cubicBezTo>
                        <a:cubicBezTo>
                          <a:pt x="3013124" y="-12481"/>
                          <a:pt x="3133987" y="21839"/>
                          <a:pt x="3370112" y="0"/>
                        </a:cubicBezTo>
                        <a:cubicBezTo>
                          <a:pt x="3606237" y="-21839"/>
                          <a:pt x="3798407" y="-22089"/>
                          <a:pt x="4044135" y="0"/>
                        </a:cubicBezTo>
                        <a:cubicBezTo>
                          <a:pt x="4160910" y="87763"/>
                          <a:pt x="4197320" y="157026"/>
                          <a:pt x="4337132" y="292998"/>
                        </a:cubicBezTo>
                        <a:cubicBezTo>
                          <a:pt x="4249457" y="358488"/>
                          <a:pt x="4127170" y="492311"/>
                          <a:pt x="4044135" y="585995"/>
                        </a:cubicBezTo>
                        <a:cubicBezTo>
                          <a:pt x="3850237" y="569237"/>
                          <a:pt x="3637093" y="615471"/>
                          <a:pt x="3329671" y="585995"/>
                        </a:cubicBezTo>
                        <a:cubicBezTo>
                          <a:pt x="3022249" y="556519"/>
                          <a:pt x="3031827" y="606235"/>
                          <a:pt x="2736531" y="585995"/>
                        </a:cubicBezTo>
                        <a:cubicBezTo>
                          <a:pt x="2441235" y="565755"/>
                          <a:pt x="2322743" y="581842"/>
                          <a:pt x="2022068" y="585995"/>
                        </a:cubicBezTo>
                        <a:cubicBezTo>
                          <a:pt x="1721393" y="590148"/>
                          <a:pt x="1635030" y="589009"/>
                          <a:pt x="1428928" y="585995"/>
                        </a:cubicBezTo>
                        <a:cubicBezTo>
                          <a:pt x="1222826" y="582981"/>
                          <a:pt x="1070583" y="564083"/>
                          <a:pt x="876229" y="585995"/>
                        </a:cubicBezTo>
                        <a:cubicBezTo>
                          <a:pt x="681875" y="607907"/>
                          <a:pt x="385330" y="585501"/>
                          <a:pt x="0" y="585995"/>
                        </a:cubicBezTo>
                        <a:cubicBezTo>
                          <a:pt x="66389" y="514516"/>
                          <a:pt x="188305" y="376472"/>
                          <a:pt x="292998" y="292998"/>
                        </a:cubicBezTo>
                        <a:cubicBezTo>
                          <a:pt x="149180" y="166960"/>
                          <a:pt x="61431" y="78398"/>
                          <a:pt x="0" y="0"/>
                        </a:cubicBezTo>
                        <a:close/>
                      </a:path>
                      <a:path w="4337132" h="585995" stroke="0" extrusionOk="0">
                        <a:moveTo>
                          <a:pt x="0" y="0"/>
                        </a:moveTo>
                        <a:cubicBezTo>
                          <a:pt x="253011" y="3507"/>
                          <a:pt x="536714" y="29610"/>
                          <a:pt x="754905" y="0"/>
                        </a:cubicBezTo>
                        <a:cubicBezTo>
                          <a:pt x="973097" y="-29610"/>
                          <a:pt x="1096901" y="-1150"/>
                          <a:pt x="1428928" y="0"/>
                        </a:cubicBezTo>
                        <a:cubicBezTo>
                          <a:pt x="1760955" y="1150"/>
                          <a:pt x="1910252" y="-7748"/>
                          <a:pt x="2143392" y="0"/>
                        </a:cubicBezTo>
                        <a:cubicBezTo>
                          <a:pt x="2376532" y="7748"/>
                          <a:pt x="2550079" y="-27833"/>
                          <a:pt x="2857855" y="0"/>
                        </a:cubicBezTo>
                        <a:cubicBezTo>
                          <a:pt x="3165631" y="27833"/>
                          <a:pt x="3602373" y="50824"/>
                          <a:pt x="4044135" y="0"/>
                        </a:cubicBezTo>
                        <a:cubicBezTo>
                          <a:pt x="4173431" y="152816"/>
                          <a:pt x="4257895" y="211446"/>
                          <a:pt x="4337132" y="292998"/>
                        </a:cubicBezTo>
                        <a:cubicBezTo>
                          <a:pt x="4226895" y="375776"/>
                          <a:pt x="4169703" y="489049"/>
                          <a:pt x="4044135" y="585995"/>
                        </a:cubicBezTo>
                        <a:cubicBezTo>
                          <a:pt x="3856069" y="595124"/>
                          <a:pt x="3495144" y="575754"/>
                          <a:pt x="3289230" y="585995"/>
                        </a:cubicBezTo>
                        <a:cubicBezTo>
                          <a:pt x="3083317" y="596236"/>
                          <a:pt x="2868609" y="578671"/>
                          <a:pt x="2615207" y="585995"/>
                        </a:cubicBezTo>
                        <a:cubicBezTo>
                          <a:pt x="2361805" y="593319"/>
                          <a:pt x="2150821" y="581424"/>
                          <a:pt x="2022068" y="585995"/>
                        </a:cubicBezTo>
                        <a:cubicBezTo>
                          <a:pt x="1893315" y="590566"/>
                          <a:pt x="1584312" y="581570"/>
                          <a:pt x="1267162" y="585995"/>
                        </a:cubicBezTo>
                        <a:cubicBezTo>
                          <a:pt x="950012" y="590420"/>
                          <a:pt x="859324" y="574147"/>
                          <a:pt x="714464" y="585995"/>
                        </a:cubicBezTo>
                        <a:cubicBezTo>
                          <a:pt x="569604" y="597843"/>
                          <a:pt x="214837" y="606247"/>
                          <a:pt x="0" y="585995"/>
                        </a:cubicBezTo>
                        <a:cubicBezTo>
                          <a:pt x="124730" y="451772"/>
                          <a:pt x="174276" y="413224"/>
                          <a:pt x="292998" y="292998"/>
                        </a:cubicBezTo>
                        <a:cubicBezTo>
                          <a:pt x="182971" y="200148"/>
                          <a:pt x="130213" y="130233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Benton Sans Book" panose="00000000000000020000" pitchFamily="2" charset="0"/>
              </a:rPr>
              <a:t>Test set </a:t>
            </a:r>
          </a:p>
        </p:txBody>
      </p:sp>
    </p:spTree>
    <p:extLst>
      <p:ext uri="{BB962C8B-B14F-4D97-AF65-F5344CB8AC3E}">
        <p14:creationId xmlns:p14="http://schemas.microsoft.com/office/powerpoint/2010/main" val="3284947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>
            <a:extLst>
              <a:ext uri="{FF2B5EF4-FFF2-40B4-BE49-F238E27FC236}">
                <a16:creationId xmlns:a16="http://schemas.microsoft.com/office/drawing/2014/main" id="{A3F7556E-1CC1-4F5C-A03A-EB6989D8F4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8" name="Object 67" hidden="1">
                        <a:extLst>
                          <a:ext uri="{FF2B5EF4-FFF2-40B4-BE49-F238E27FC236}">
                            <a16:creationId xmlns:a16="http://schemas.microsoft.com/office/drawing/2014/main" id="{A3F7556E-1CC1-4F5C-A03A-EB6989D8F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47E17799-8C4B-4254-8943-AF4B9FD225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Benton Sans Book" panose="00000000000000020000" pitchFamily="2" charset="0"/>
              <a:ea typeface="+mj-ea"/>
              <a:cs typeface="+mj-cs"/>
              <a:sym typeface="Benton Sans Book" panose="0000000000000002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17846-4942-42A5-8AE5-844081AB7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enton Sans Book" panose="00000000000000020000" pitchFamily="2" charset="0"/>
              </a:rPr>
              <a:t>Preprocessing: Features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229F89-ACC7-48C4-8C6B-E0AD5D7BB0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F4E1F79-66A9-4044-8548-86BCE0C67996}"/>
              </a:ext>
            </a:extLst>
          </p:cNvPr>
          <p:cNvSpPr/>
          <p:nvPr/>
        </p:nvSpPr>
        <p:spPr bwMode="auto">
          <a:xfrm>
            <a:off x="304800" y="1667203"/>
            <a:ext cx="1924939" cy="10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108000" rIns="108000" bIns="108000" rtlCol="0" anchor="ctr"/>
          <a:lstStyle/>
          <a:p>
            <a:r>
              <a:rPr lang="en-GB" sz="1200" b="1" dirty="0">
                <a:solidFill>
                  <a:schemeClr val="bg1"/>
                </a:solidFill>
              </a:rPr>
              <a:t>Flight featur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AF48E4-62E4-41E2-A3C1-334B08CBD717}"/>
              </a:ext>
            </a:extLst>
          </p:cNvPr>
          <p:cNvSpPr/>
          <p:nvPr/>
        </p:nvSpPr>
        <p:spPr bwMode="auto">
          <a:xfrm>
            <a:off x="2967493" y="1688026"/>
            <a:ext cx="1400687" cy="895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Airline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Flight Number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Aircraft Type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Flight Typ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FFA3E6-3F24-4351-83CA-22AB16557C52}"/>
              </a:ext>
            </a:extLst>
          </p:cNvPr>
          <p:cNvSpPr/>
          <p:nvPr/>
        </p:nvSpPr>
        <p:spPr bwMode="auto">
          <a:xfrm>
            <a:off x="304800" y="2854283"/>
            <a:ext cx="1924939" cy="10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108000" rIns="108000" bIns="108000" rtlCol="0" anchor="ctr"/>
          <a:lstStyle/>
          <a:p>
            <a:r>
              <a:rPr lang="en-GB" sz="1200" b="1" dirty="0">
                <a:solidFill>
                  <a:schemeClr val="bg1"/>
                </a:solidFill>
              </a:rPr>
              <a:t>Time featur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7998BC6-D6E7-4AF8-AE15-1FCC3676F687}"/>
              </a:ext>
            </a:extLst>
          </p:cNvPr>
          <p:cNvSpPr/>
          <p:nvPr/>
        </p:nvSpPr>
        <p:spPr bwMode="auto">
          <a:xfrm>
            <a:off x="2944290" y="2910468"/>
            <a:ext cx="1488973" cy="895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Weekday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Week number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Month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Day of Month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6C089F1-7642-4170-82F4-7F5513C01E2F}"/>
              </a:ext>
            </a:extLst>
          </p:cNvPr>
          <p:cNvSpPr/>
          <p:nvPr/>
        </p:nvSpPr>
        <p:spPr bwMode="auto">
          <a:xfrm>
            <a:off x="304800" y="4041363"/>
            <a:ext cx="1924939" cy="10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108000" rIns="108000" bIns="108000" rtlCol="0" anchor="ctr"/>
          <a:lstStyle/>
          <a:p>
            <a:r>
              <a:rPr lang="en-GB" sz="1200" b="1" dirty="0">
                <a:solidFill>
                  <a:schemeClr val="bg1"/>
                </a:solidFill>
              </a:rPr>
              <a:t>Calendar featur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063919-EFAD-4F99-A22E-881D18A7F4D1}"/>
              </a:ext>
            </a:extLst>
          </p:cNvPr>
          <p:cNvSpPr/>
          <p:nvPr/>
        </p:nvSpPr>
        <p:spPr bwMode="auto">
          <a:xfrm>
            <a:off x="2944289" y="4097549"/>
            <a:ext cx="2378149" cy="895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latin typeface="Benton Sans Book" panose="00000000000000020000" pitchFamily="2" charset="0"/>
              </a:rPr>
              <a:t>Days from new years day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latin typeface="Benton Sans Book" panose="00000000000000020000" pitchFamily="2" charset="0"/>
              </a:rPr>
              <a:t>Days from Easter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latin typeface="Benton Sans Book" panose="00000000000000020000" pitchFamily="2" charset="0"/>
              </a:rPr>
              <a:t>… Days from relevant holidays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latin typeface="Benton Sans Book" panose="00000000000000020000" pitchFamily="2" charset="0"/>
              </a:rPr>
              <a:t>Days that are outlier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7AB216A-1E29-4315-B2F5-00B1FE84F53C}"/>
              </a:ext>
            </a:extLst>
          </p:cNvPr>
          <p:cNvSpPr/>
          <p:nvPr/>
        </p:nvSpPr>
        <p:spPr bwMode="auto">
          <a:xfrm>
            <a:off x="304800" y="5228446"/>
            <a:ext cx="1924939" cy="10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tIns="108000" rIns="108000" bIns="108000" rtlCol="0" anchor="ctr"/>
          <a:lstStyle/>
          <a:p>
            <a:r>
              <a:rPr lang="en-GB" sz="1200" b="1" dirty="0">
                <a:solidFill>
                  <a:schemeClr val="bg1"/>
                </a:solidFill>
              </a:rPr>
              <a:t>Other relevant features?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9C8D17A-DF39-47B9-A146-4DBA0752CAB8}"/>
              </a:ext>
            </a:extLst>
          </p:cNvPr>
          <p:cNvSpPr/>
          <p:nvPr/>
        </p:nvSpPr>
        <p:spPr bwMode="auto">
          <a:xfrm>
            <a:off x="2944289" y="5280337"/>
            <a:ext cx="3663920" cy="741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Any relevant features for forecasting time series?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Are there any tendencies in the load factors, for example per airline, weekday, destination, etc.?</a:t>
            </a:r>
            <a:endParaRPr lang="en" sz="1200" dirty="0">
              <a:latin typeface="Benton Sans Book" panose="00000000000000020000" pitchFamily="2" charset="0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5216466-AD19-47F5-998F-433D4C721219}"/>
              </a:ext>
            </a:extLst>
          </p:cNvPr>
          <p:cNvGrpSpPr/>
          <p:nvPr/>
        </p:nvGrpSpPr>
        <p:grpSpPr>
          <a:xfrm>
            <a:off x="2944293" y="1337871"/>
            <a:ext cx="3663921" cy="239792"/>
            <a:chOff x="2944293" y="1337871"/>
            <a:chExt cx="3663921" cy="239792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C1EF590-5486-468E-ABA0-70CA96C76A0C}"/>
                </a:ext>
              </a:extLst>
            </p:cNvPr>
            <p:cNvSpPr txBox="1"/>
            <p:nvPr/>
          </p:nvSpPr>
          <p:spPr>
            <a:xfrm>
              <a:off x="2944293" y="1337871"/>
              <a:ext cx="3663917" cy="184666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b" anchorCtr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GB" sz="1200" b="1" dirty="0"/>
                <a:t>Ideas for features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55503B01-10EB-4278-A045-1CC05D5AAD25}"/>
                </a:ext>
              </a:extLst>
            </p:cNvPr>
            <p:cNvCxnSpPr/>
            <p:nvPr/>
          </p:nvCxnSpPr>
          <p:spPr>
            <a:xfrm>
              <a:off x="2944295" y="1577663"/>
              <a:ext cx="36639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9F8C0FE-995E-462A-BF91-801E66E309C5}"/>
              </a:ext>
            </a:extLst>
          </p:cNvPr>
          <p:cNvGrpSpPr/>
          <p:nvPr/>
        </p:nvGrpSpPr>
        <p:grpSpPr>
          <a:xfrm>
            <a:off x="304800" y="1337871"/>
            <a:ext cx="1923351" cy="239792"/>
            <a:chOff x="304800" y="1337871"/>
            <a:chExt cx="1923351" cy="239792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EE49656-B45E-4B59-8B6B-9536585383B1}"/>
                </a:ext>
              </a:extLst>
            </p:cNvPr>
            <p:cNvSpPr txBox="1"/>
            <p:nvPr/>
          </p:nvSpPr>
          <p:spPr>
            <a:xfrm>
              <a:off x="304800" y="1337871"/>
              <a:ext cx="1923349" cy="184666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b" anchorCtr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200" b="1" dirty="0"/>
                <a:t>Feature category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71BB76DF-557B-4BA5-881D-6B392E0C5D77}"/>
                </a:ext>
              </a:extLst>
            </p:cNvPr>
            <p:cNvCxnSpPr/>
            <p:nvPr/>
          </p:nvCxnSpPr>
          <p:spPr>
            <a:xfrm>
              <a:off x="304801" y="1577663"/>
              <a:ext cx="192335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C5D8D98-AC87-4C5E-ACFF-44C860E89B9F}"/>
              </a:ext>
            </a:extLst>
          </p:cNvPr>
          <p:cNvGrpSpPr/>
          <p:nvPr/>
        </p:nvGrpSpPr>
        <p:grpSpPr>
          <a:xfrm>
            <a:off x="304801" y="2764743"/>
            <a:ext cx="6303413" cy="0"/>
            <a:chOff x="304801" y="-215497"/>
            <a:chExt cx="6303413" cy="0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515139F-CA85-4707-B6E6-5DB51BA52976}"/>
                </a:ext>
              </a:extLst>
            </p:cNvPr>
            <p:cNvCxnSpPr/>
            <p:nvPr/>
          </p:nvCxnSpPr>
          <p:spPr>
            <a:xfrm>
              <a:off x="2944295" y="-215497"/>
              <a:ext cx="36639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19989FB2-B1DB-44AB-890B-2B295E58C89F}"/>
                </a:ext>
              </a:extLst>
            </p:cNvPr>
            <p:cNvCxnSpPr/>
            <p:nvPr/>
          </p:nvCxnSpPr>
          <p:spPr>
            <a:xfrm>
              <a:off x="304801" y="-215497"/>
              <a:ext cx="192335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09B3CDC-85DD-4D0A-9455-5655AF0940FC}"/>
              </a:ext>
            </a:extLst>
          </p:cNvPr>
          <p:cNvGrpSpPr/>
          <p:nvPr/>
        </p:nvGrpSpPr>
        <p:grpSpPr>
          <a:xfrm>
            <a:off x="304799" y="3951823"/>
            <a:ext cx="6303413" cy="0"/>
            <a:chOff x="304801" y="-215497"/>
            <a:chExt cx="6303413" cy="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209CADC7-10B6-49E1-A521-DDAFDB39D478}"/>
                </a:ext>
              </a:extLst>
            </p:cNvPr>
            <p:cNvCxnSpPr/>
            <p:nvPr/>
          </p:nvCxnSpPr>
          <p:spPr>
            <a:xfrm>
              <a:off x="2944295" y="-215497"/>
              <a:ext cx="36639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1E79BE11-832B-4192-87B0-6102ECCD378D}"/>
                </a:ext>
              </a:extLst>
            </p:cNvPr>
            <p:cNvCxnSpPr/>
            <p:nvPr/>
          </p:nvCxnSpPr>
          <p:spPr>
            <a:xfrm>
              <a:off x="304801" y="-215497"/>
              <a:ext cx="192335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67CF2A8-452B-43D9-A215-14E74456A9AA}"/>
              </a:ext>
            </a:extLst>
          </p:cNvPr>
          <p:cNvGrpSpPr/>
          <p:nvPr/>
        </p:nvGrpSpPr>
        <p:grpSpPr>
          <a:xfrm>
            <a:off x="304801" y="5138903"/>
            <a:ext cx="6303413" cy="0"/>
            <a:chOff x="304801" y="-215497"/>
            <a:chExt cx="6303413" cy="0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17C44F99-1FFC-460C-A3FE-3814BC9E92E1}"/>
                </a:ext>
              </a:extLst>
            </p:cNvPr>
            <p:cNvCxnSpPr/>
            <p:nvPr/>
          </p:nvCxnSpPr>
          <p:spPr>
            <a:xfrm>
              <a:off x="2944295" y="-215497"/>
              <a:ext cx="36639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1BC21F4-5C45-4780-A1E0-F952257EC0D6}"/>
                </a:ext>
              </a:extLst>
            </p:cNvPr>
            <p:cNvCxnSpPr/>
            <p:nvPr/>
          </p:nvCxnSpPr>
          <p:spPr>
            <a:xfrm>
              <a:off x="304801" y="-215497"/>
              <a:ext cx="192335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Oval 72">
            <a:extLst>
              <a:ext uri="{FF2B5EF4-FFF2-40B4-BE49-F238E27FC236}">
                <a16:creationId xmlns:a16="http://schemas.microsoft.com/office/drawing/2014/main" id="{06A681CA-9ECC-42D6-8DD0-6DFF7247C24C}"/>
              </a:ext>
            </a:extLst>
          </p:cNvPr>
          <p:cNvSpPr/>
          <p:nvPr/>
        </p:nvSpPr>
        <p:spPr>
          <a:xfrm>
            <a:off x="364394" y="1901203"/>
            <a:ext cx="540000" cy="5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7AA4471F-6FB8-4D72-ADFE-0DA359F0A90C}"/>
              </a:ext>
            </a:extLst>
          </p:cNvPr>
          <p:cNvSpPr/>
          <p:nvPr/>
        </p:nvSpPr>
        <p:spPr>
          <a:xfrm>
            <a:off x="364394" y="3088283"/>
            <a:ext cx="540000" cy="5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219B65A-084D-4674-9CD3-E3928D96B465}"/>
              </a:ext>
            </a:extLst>
          </p:cNvPr>
          <p:cNvSpPr/>
          <p:nvPr/>
        </p:nvSpPr>
        <p:spPr>
          <a:xfrm>
            <a:off x="364394" y="4275363"/>
            <a:ext cx="540000" cy="5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4C28F495-B3BA-4A84-B991-6211DC64C7F7}"/>
              </a:ext>
            </a:extLst>
          </p:cNvPr>
          <p:cNvSpPr/>
          <p:nvPr/>
        </p:nvSpPr>
        <p:spPr>
          <a:xfrm>
            <a:off x="364394" y="5462446"/>
            <a:ext cx="540000" cy="5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76" name="Graphic 75" descr="Daily calendar">
            <a:extLst>
              <a:ext uri="{FF2B5EF4-FFF2-40B4-BE49-F238E27FC236}">
                <a16:creationId xmlns:a16="http://schemas.microsoft.com/office/drawing/2014/main" id="{49EEEB06-9457-409B-98C5-F9E1C309B1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8394" y="4329363"/>
            <a:ext cx="432000" cy="432000"/>
          </a:xfrm>
          <a:prstGeom prst="rect">
            <a:avLst/>
          </a:prstGeom>
        </p:spPr>
      </p:pic>
      <p:pic>
        <p:nvPicPr>
          <p:cNvPr id="42" name="Graphic 41" descr="Airplane">
            <a:extLst>
              <a:ext uri="{FF2B5EF4-FFF2-40B4-BE49-F238E27FC236}">
                <a16:creationId xmlns:a16="http://schemas.microsoft.com/office/drawing/2014/main" id="{52CA80D2-6537-49E8-BF9E-F30178E983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4394" y="1898988"/>
            <a:ext cx="540000" cy="540000"/>
          </a:xfrm>
          <a:prstGeom prst="rect">
            <a:avLst/>
          </a:prstGeom>
        </p:spPr>
      </p:pic>
      <p:pic>
        <p:nvPicPr>
          <p:cNvPr id="48" name="Graphic 47" descr="Watch">
            <a:extLst>
              <a:ext uri="{FF2B5EF4-FFF2-40B4-BE49-F238E27FC236}">
                <a16:creationId xmlns:a16="http://schemas.microsoft.com/office/drawing/2014/main" id="{A3078AEF-0571-446A-A7A9-0F37C41484D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7534" y="3125661"/>
            <a:ext cx="473719" cy="473719"/>
          </a:xfrm>
          <a:prstGeom prst="rect">
            <a:avLst/>
          </a:prstGeom>
        </p:spPr>
      </p:pic>
      <p:pic>
        <p:nvPicPr>
          <p:cNvPr id="80" name="Graphic 79" descr="Gears">
            <a:extLst>
              <a:ext uri="{FF2B5EF4-FFF2-40B4-BE49-F238E27FC236}">
                <a16:creationId xmlns:a16="http://schemas.microsoft.com/office/drawing/2014/main" id="{3317D414-1CF9-4CB4-8E1B-72EFBDAAFE6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8435" y="5482791"/>
            <a:ext cx="462818" cy="462818"/>
          </a:xfrm>
          <a:prstGeom prst="rect">
            <a:avLst/>
          </a:pr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053BBB41-4999-44BF-A2E1-AA2B6AC89F46}"/>
              </a:ext>
            </a:extLst>
          </p:cNvPr>
          <p:cNvSpPr/>
          <p:nvPr/>
        </p:nvSpPr>
        <p:spPr bwMode="auto">
          <a:xfrm>
            <a:off x="4738797" y="1667203"/>
            <a:ext cx="1400687" cy="652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Destination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Sector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Seat capacity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5CF833A-0327-4366-AC20-A634A07D735E}"/>
              </a:ext>
            </a:extLst>
          </p:cNvPr>
          <p:cNvSpPr/>
          <p:nvPr/>
        </p:nvSpPr>
        <p:spPr bwMode="auto">
          <a:xfrm>
            <a:off x="4738797" y="2884530"/>
            <a:ext cx="1488973" cy="652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spAutoFit/>
          </a:bodyPr>
          <a:lstStyle/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Year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Hour</a:t>
            </a:r>
          </a:p>
          <a:p>
            <a:pPr marL="172800" lvl="1" indent="-172800" fontAlgn="base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Benton Sans Book" panose="00000000000000020000" pitchFamily="2" charset="0"/>
              </a:rPr>
              <a:t>Minut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8CBCA6D-1775-4E20-A5D9-4A24E56D4DE1}"/>
              </a:ext>
            </a:extLst>
          </p:cNvPr>
          <p:cNvSpPr/>
          <p:nvPr/>
        </p:nvSpPr>
        <p:spPr>
          <a:xfrm>
            <a:off x="8518510" y="3228662"/>
            <a:ext cx="2697361" cy="8875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  <a:latin typeface="Benton Sans Book" panose="00000000000000020000" pitchFamily="2" charset="0"/>
              </a:rPr>
              <a:t>Training the model</a:t>
            </a:r>
            <a:endParaRPr lang="en-US" sz="1200" dirty="0">
              <a:solidFill>
                <a:schemeClr val="tx1"/>
              </a:solidFill>
              <a:latin typeface="Benton Sans Book" panose="00000000000000020000" pitchFamily="2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Benton Sans Book" panose="00000000000000020000" pitchFamily="2" charset="0"/>
              </a:rPr>
              <a:t>What features are relevant to include?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17E6815-A789-4BFB-8C8A-2D3C3675A4B8}"/>
              </a:ext>
            </a:extLst>
          </p:cNvPr>
          <p:cNvCxnSpPr>
            <a:cxnSpLocks/>
          </p:cNvCxnSpPr>
          <p:nvPr/>
        </p:nvCxnSpPr>
        <p:spPr>
          <a:xfrm>
            <a:off x="7032590" y="1577663"/>
            <a:ext cx="0" cy="4658783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Isosceles Triangle 65">
            <a:extLst>
              <a:ext uri="{FF2B5EF4-FFF2-40B4-BE49-F238E27FC236}">
                <a16:creationId xmlns:a16="http://schemas.microsoft.com/office/drawing/2014/main" id="{4EE8D14C-6B2C-4644-8818-094FC89E61C3}"/>
              </a:ext>
            </a:extLst>
          </p:cNvPr>
          <p:cNvSpPr/>
          <p:nvPr/>
        </p:nvSpPr>
        <p:spPr>
          <a:xfrm rot="5400000">
            <a:off x="7470936" y="3572411"/>
            <a:ext cx="831798" cy="20002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200" b="1" dirty="0">
              <a:solidFill>
                <a:schemeClr val="bg1"/>
              </a:solidFill>
              <a:latin typeface="Benton Sans Book" panose="0000000000000002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0198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A3F9F-9BA1-4115-866F-38DC5E933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, Hand-in, and Deadline</a:t>
            </a:r>
            <a:endParaRPr lang="en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8B9248-8800-47F2-B08D-7A956B385A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3527EF-ECCC-43C3-AD37-AB807445E89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952CEF-2EBF-4A34-AF1A-1DCDD8F940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Data:</a:t>
            </a:r>
          </a:p>
          <a:p>
            <a:r>
              <a:rPr lang="en-US" dirty="0"/>
              <a:t>The realized data is from 2021-01-01 to 2022-02-28 (the full realized schedule data is sent out at the beginning of March). </a:t>
            </a:r>
          </a:p>
          <a:p>
            <a:r>
              <a:rPr lang="en-US" dirty="0"/>
              <a:t>The period that the forecast should be generated for is 2022-03-01 to 2022-03-31 (this future schedule data is also sent out at the beginning of March)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Hand-in:</a:t>
            </a:r>
          </a:p>
          <a:p>
            <a:r>
              <a:rPr lang="en-US" dirty="0"/>
              <a:t>You have the freedom to choose any method to analyze the data and produce a passenger forecast per flight. </a:t>
            </a:r>
          </a:p>
          <a:p>
            <a:r>
              <a:rPr lang="en-US" dirty="0"/>
              <a:t>The output should be a file “output.txt” containing the future schedule for March and with a column added with the forecasted load factor (ratio of number of passengers per flight to seat capacity). </a:t>
            </a:r>
          </a:p>
          <a:p>
            <a:r>
              <a:rPr lang="en-US" dirty="0"/>
              <a:t>In addition to this, a small report (maximum 5 pages) with a description of the pre-processing, modelling, and model assessment should be handed in.</a:t>
            </a:r>
          </a:p>
          <a:p>
            <a:r>
              <a:rPr lang="en-US" dirty="0"/>
              <a:t>There will be a price for the forecast with the overall highest accuracy. </a:t>
            </a:r>
          </a:p>
          <a:p>
            <a:r>
              <a:rPr lang="en-US" dirty="0"/>
              <a:t>Furthermore, you should state your expected total accuracy, and there is another price for the team that gets closest to their estimated total accurac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Deadline: </a:t>
            </a:r>
          </a:p>
          <a:p>
            <a:r>
              <a:rPr lang="en-US" dirty="0"/>
              <a:t>The deadline for the case is March 21</a:t>
            </a:r>
            <a:r>
              <a:rPr lang="en-US" baseline="30000" dirty="0"/>
              <a:t>st</a:t>
            </a:r>
            <a:r>
              <a:rPr lang="en-US" dirty="0"/>
              <a:t> </a:t>
            </a:r>
          </a:p>
          <a:p>
            <a:r>
              <a:rPr lang="en-US" dirty="0"/>
              <a:t>The winner will be announced on March 24</a:t>
            </a:r>
            <a:r>
              <a:rPr lang="en-US" baseline="30000" dirty="0"/>
              <a:t>th</a:t>
            </a:r>
            <a:r>
              <a:rPr lang="en-US" dirty="0"/>
              <a:t> 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004794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slXvWPZ1i8HxGhz4YT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IAlyvxuNvcg8LJgKxH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bPyPOgxMfak.zq9pM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uZ6CpcSQfAX9tUyYMJe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IEcYrtw1qCNQL_EAfYu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3dBhI9JPUSTrqw1.c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K1egL04mZK1I2NMxge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mr4bidUqBkaIMkgXgG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IAlyvxuNvcg8LJgKxH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ont page">
  <a:themeElements>
    <a:clrScheme name="C-OPT">
      <a:dk1>
        <a:sysClr val="windowText" lastClr="000000"/>
      </a:dk1>
      <a:lt1>
        <a:sysClr val="window" lastClr="FFFFFF"/>
      </a:lt1>
      <a:dk2>
        <a:srgbClr val="999898"/>
      </a:dk2>
      <a:lt2>
        <a:srgbClr val="34B3D0"/>
      </a:lt2>
      <a:accent1>
        <a:srgbClr val="95B3C8"/>
      </a:accent1>
      <a:accent2>
        <a:srgbClr val="48998C"/>
      </a:accent2>
      <a:accent3>
        <a:srgbClr val="949A54"/>
      </a:accent3>
      <a:accent4>
        <a:srgbClr val="936544"/>
      </a:accent4>
      <a:accent5>
        <a:srgbClr val="A12B1C"/>
      </a:accent5>
      <a:accent6>
        <a:srgbClr val="B08B8F"/>
      </a:accent6>
      <a:hlink>
        <a:srgbClr val="1B2D50"/>
      </a:hlink>
      <a:folHlink>
        <a:srgbClr val="B08B8F"/>
      </a:folHlink>
    </a:clrScheme>
    <a:fontScheme name="Benton Sans Book">
      <a:majorFont>
        <a:latin typeface="Benton Sans Book"/>
        <a:ea typeface=""/>
        <a:cs typeface=""/>
      </a:majorFont>
      <a:minorFont>
        <a:latin typeface="Benton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75000"/>
          </a:schemeClr>
        </a:solidFill>
        <a:ln>
          <a:noFill/>
        </a:ln>
      </a:spPr>
      <a:bodyPr rtlCol="0" anchor="ctr"/>
      <a:lstStyle>
        <a:defPPr algn="ctr">
          <a:defRPr sz="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100" dirty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EFC8A30-1F22-46A1-8B32-1C72BD418BD3}" vid="{1D0F2E06-68BF-4C44-90A9-F290C235F66E}"/>
    </a:ext>
  </a:extLst>
</a:theme>
</file>

<file path=ppt/theme/theme2.xml><?xml version="1.0" encoding="utf-8"?>
<a:theme xmlns:a="http://schemas.openxmlformats.org/drawingml/2006/main" name="Content (CopOpt New)">
  <a:themeElements>
    <a:clrScheme name="C-OPT">
      <a:dk1>
        <a:sysClr val="windowText" lastClr="000000"/>
      </a:dk1>
      <a:lt1>
        <a:sysClr val="window" lastClr="FFFFFF"/>
      </a:lt1>
      <a:dk2>
        <a:srgbClr val="999898"/>
      </a:dk2>
      <a:lt2>
        <a:srgbClr val="34B3D0"/>
      </a:lt2>
      <a:accent1>
        <a:srgbClr val="95B3C8"/>
      </a:accent1>
      <a:accent2>
        <a:srgbClr val="48998C"/>
      </a:accent2>
      <a:accent3>
        <a:srgbClr val="949A54"/>
      </a:accent3>
      <a:accent4>
        <a:srgbClr val="936544"/>
      </a:accent4>
      <a:accent5>
        <a:srgbClr val="A12B1C"/>
      </a:accent5>
      <a:accent6>
        <a:srgbClr val="B08B8F"/>
      </a:accent6>
      <a:hlink>
        <a:srgbClr val="1B2D50"/>
      </a:hlink>
      <a:folHlink>
        <a:srgbClr val="B08B8F"/>
      </a:folHlink>
    </a:clrScheme>
    <a:fontScheme name="Benton Sans Book">
      <a:majorFont>
        <a:latin typeface="Benton Sans Book"/>
        <a:ea typeface=""/>
        <a:cs typeface=""/>
      </a:majorFont>
      <a:minorFont>
        <a:latin typeface="Benton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300"/>
          </a:spcBef>
          <a:spcAft>
            <a:spcPts val="3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EFC8A30-1F22-46A1-8B32-1C72BD418BD3}" vid="{C13B274A-E65A-4E9A-A283-DE61C2F5AC2F}"/>
    </a:ext>
  </a:extLst>
</a:theme>
</file>

<file path=ppt/theme/theme3.xml><?xml version="1.0" encoding="utf-8"?>
<a:theme xmlns:a="http://schemas.openxmlformats.org/drawingml/2006/main" name="Break slide">
  <a:themeElements>
    <a:clrScheme name="C-OPT">
      <a:dk1>
        <a:sysClr val="windowText" lastClr="000000"/>
      </a:dk1>
      <a:lt1>
        <a:sysClr val="window" lastClr="FFFFFF"/>
      </a:lt1>
      <a:dk2>
        <a:srgbClr val="999898"/>
      </a:dk2>
      <a:lt2>
        <a:srgbClr val="34B3D0"/>
      </a:lt2>
      <a:accent1>
        <a:srgbClr val="95B3C8"/>
      </a:accent1>
      <a:accent2>
        <a:srgbClr val="48998C"/>
      </a:accent2>
      <a:accent3>
        <a:srgbClr val="949A54"/>
      </a:accent3>
      <a:accent4>
        <a:srgbClr val="936544"/>
      </a:accent4>
      <a:accent5>
        <a:srgbClr val="A12B1C"/>
      </a:accent5>
      <a:accent6>
        <a:srgbClr val="B08B8F"/>
      </a:accent6>
      <a:hlink>
        <a:srgbClr val="1B2D50"/>
      </a:hlink>
      <a:folHlink>
        <a:srgbClr val="B08B8F"/>
      </a:folHlink>
    </a:clrScheme>
    <a:fontScheme name="Benton Sans Book">
      <a:majorFont>
        <a:latin typeface="Benton Sans Book"/>
        <a:ea typeface=""/>
        <a:cs typeface=""/>
      </a:majorFont>
      <a:minorFont>
        <a:latin typeface="Benton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8EFC8A30-1F22-46A1-8B32-1C72BD418BD3}" vid="{90E151FD-B7C4-4AA9-AA9E-AC8E4CE621F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etter Airport - Master presentation - May2021</Template>
  <TotalTime>2077</TotalTime>
  <Words>847</Words>
  <Application>Microsoft Office PowerPoint</Application>
  <PresentationFormat>Widescreen</PresentationFormat>
  <Paragraphs>152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Calibri</vt:lpstr>
      <vt:lpstr>Benton Sans Book</vt:lpstr>
      <vt:lpstr>Arial</vt:lpstr>
      <vt:lpstr>Front page</vt:lpstr>
      <vt:lpstr>Content (CopOpt New)</vt:lpstr>
      <vt:lpstr>Break slide</vt:lpstr>
      <vt:lpstr>think-cell Slide</vt:lpstr>
      <vt:lpstr>COPENHAGEN OPTIMIZATION</vt:lpstr>
      <vt:lpstr>PowerPoint Presentation</vt:lpstr>
      <vt:lpstr>About Copenhagen Optimization</vt:lpstr>
      <vt:lpstr>PowerPoint Presentation</vt:lpstr>
      <vt:lpstr>High accuracy passenger forecasts are the foundation of optimized airport operations</vt:lpstr>
      <vt:lpstr>Data Example</vt:lpstr>
      <vt:lpstr>Preprocessing steps: Training and test datasets</vt:lpstr>
      <vt:lpstr>Preprocessing: Features </vt:lpstr>
      <vt:lpstr>Data, Hand-in, and Dead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ENHAGEN OPTIMIZATION</dc:title>
  <dc:creator>Emilie Knutz</dc:creator>
  <cp:lastModifiedBy>Emilie Knutz</cp:lastModifiedBy>
  <cp:revision>53</cp:revision>
  <dcterms:created xsi:type="dcterms:W3CDTF">2021-10-11T17:22:32Z</dcterms:created>
  <dcterms:modified xsi:type="dcterms:W3CDTF">2022-02-09T15:57:46Z</dcterms:modified>
</cp:coreProperties>
</file>